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32" r:id="rId5"/>
    <p:sldMasterId id="2147483741" r:id="rId6"/>
  </p:sldMasterIdLst>
  <p:notesMasterIdLst>
    <p:notesMasterId r:id="rId17"/>
  </p:notesMasterIdLst>
  <p:handoutMasterIdLst>
    <p:handoutMasterId r:id="rId18"/>
  </p:handoutMasterIdLst>
  <p:sldIdLst>
    <p:sldId id="1770" r:id="rId7"/>
    <p:sldId id="1782" r:id="rId8"/>
    <p:sldId id="1773" r:id="rId9"/>
    <p:sldId id="1776" r:id="rId10"/>
    <p:sldId id="1780" r:id="rId11"/>
    <p:sldId id="1781" r:id="rId12"/>
    <p:sldId id="1779" r:id="rId13"/>
    <p:sldId id="1774" r:id="rId14"/>
    <p:sldId id="1775" r:id="rId15"/>
    <p:sldId id="1771"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E08602-2491-48EE-AC40-95BFD67D76F4}">
          <p14:sldIdLst>
            <p14:sldId id="1770"/>
          </p14:sldIdLst>
        </p14:section>
        <p14:section name="Untitled Section" id="{D5388ED7-81F8-4B2C-A79A-39D864447C37}">
          <p14:sldIdLst>
            <p14:sldId id="1782"/>
            <p14:sldId id="1773"/>
            <p14:sldId id="1776"/>
            <p14:sldId id="1780"/>
            <p14:sldId id="1781"/>
            <p14:sldId id="1779"/>
            <p14:sldId id="1774"/>
            <p14:sldId id="1775"/>
            <p14:sldId id="1771"/>
          </p14:sldIdLst>
        </p14:section>
      </p14:sectionLst>
    </p:ext>
    <p:ext uri="{EFAFB233-063F-42B5-8137-9DF3F51BA10A}">
      <p15:sldGuideLst xmlns:p15="http://schemas.microsoft.com/office/powerpoint/2012/main">
        <p15:guide id="1" orient="horz" pos="250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tor Komane   Transnet Property  Johannesburg" initials="VKTPJ" lastIdx="1" clrIdx="0">
    <p:extLst>
      <p:ext uri="{19B8F6BF-5375-455C-9EA6-DF929625EA0E}">
        <p15:presenceInfo xmlns:p15="http://schemas.microsoft.com/office/powerpoint/2012/main" userId="S::Victor.Komane@transnet.net::78316d4d-e4f8-4270-97cc-6b6e9c6136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7F00"/>
    <a:srgbClr val="E42313"/>
    <a:srgbClr val="C2BBAD"/>
    <a:srgbClr val="69614E"/>
    <a:srgbClr val="A1A250"/>
    <a:srgbClr val="A2AA3D"/>
    <a:srgbClr val="6F90A7"/>
    <a:srgbClr val="84B5BD"/>
    <a:srgbClr val="C7B400"/>
    <a:srgbClr val="C6B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2153" autoAdjust="0"/>
  </p:normalViewPr>
  <p:slideViewPr>
    <p:cSldViewPr snapToGrid="0" showGuides="1">
      <p:cViewPr varScale="1">
        <p:scale>
          <a:sx n="67" d="100"/>
          <a:sy n="67" d="100"/>
        </p:scale>
        <p:origin x="644" y="44"/>
      </p:cViewPr>
      <p:guideLst>
        <p:guide orient="horz" pos="250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4" d="100"/>
          <a:sy n="54" d="100"/>
        </p:scale>
        <p:origin x="256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E9E0EE-1DCB-4F30-B077-464F007E46A9}" type="datetimeFigureOut">
              <a:rPr lang="en-GB" smtClean="0"/>
              <a:t>02/06/2023</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CE7D0A-618D-469D-A0F6-7E10C3D47CE6}" type="datetimeFigureOut">
              <a:rPr lang="en-GB" smtClean="0"/>
              <a:t>02/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24.png"/><Relationship Id="rId5" Type="http://schemas.openxmlformats.org/officeDocument/2006/relationships/image" Target="../media/image26.png"/><Relationship Id="rId4" Type="http://schemas.openxmlformats.org/officeDocument/2006/relationships/image" Target="../media/image2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24.png"/><Relationship Id="rId5" Type="http://schemas.openxmlformats.org/officeDocument/2006/relationships/image" Target="../media/image27.png"/><Relationship Id="rId4" Type="http://schemas.openxmlformats.org/officeDocument/2006/relationships/image" Target="../media/image2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8.png"/><Relationship Id="rId4" Type="http://schemas.openxmlformats.org/officeDocument/2006/relationships/image" Target="../media/image2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5.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29.jpeg"/><Relationship Id="rId1" Type="http://schemas.openxmlformats.org/officeDocument/2006/relationships/slideMaster" Target="../slideMasters/slideMaster3.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DF8E8968-CF5B-604F-927F-923A91A931A9}"/>
              </a:ext>
            </a:extLst>
          </p:cNvPr>
          <p:cNvSpPr/>
          <p:nvPr userDrawn="1"/>
        </p:nvSpPr>
        <p:spPr>
          <a:xfrm>
            <a:off x="1" y="1"/>
            <a:ext cx="12192000" cy="6857615"/>
          </a:xfrm>
          <a:custGeom>
            <a:avLst/>
            <a:gdLst/>
            <a:ahLst/>
            <a:cxnLst/>
            <a:rect l="l" t="t" r="r" b="b"/>
            <a:pathLst>
              <a:path w="20104100" h="11308715">
                <a:moveTo>
                  <a:pt x="20104099" y="11308556"/>
                </a:moveTo>
                <a:lnTo>
                  <a:pt x="0" y="11308556"/>
                </a:lnTo>
                <a:lnTo>
                  <a:pt x="0" y="0"/>
                </a:lnTo>
                <a:lnTo>
                  <a:pt x="20104099" y="0"/>
                </a:lnTo>
                <a:lnTo>
                  <a:pt x="20104099" y="11308556"/>
                </a:lnTo>
                <a:close/>
              </a:path>
            </a:pathLst>
          </a:custGeom>
          <a:ln w="41883">
            <a:solidFill>
              <a:srgbClr val="E63023"/>
            </a:solidFill>
          </a:ln>
        </p:spPr>
        <p:txBody>
          <a:bodyPr wrap="square" lIns="0" tIns="0" rIns="0" bIns="0" rtlCol="0"/>
          <a:lstStyle/>
          <a:p>
            <a:endParaRPr sz="637" b="0" i="0" dirty="0">
              <a:latin typeface="Tahoma Regular"/>
            </a:endParaRPr>
          </a:p>
        </p:txBody>
      </p:sp>
      <p:pic>
        <p:nvPicPr>
          <p:cNvPr id="9" name="Picture 8">
            <a:extLst>
              <a:ext uri="{FF2B5EF4-FFF2-40B4-BE49-F238E27FC236}">
                <a16:creationId xmlns:a16="http://schemas.microsoft.com/office/drawing/2014/main" id="{3084F310-B4AD-5D44-BEF7-4C91BCBB7B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481"/>
            <a:ext cx="12192000" cy="6857519"/>
          </a:xfrm>
          <a:prstGeom prst="rect">
            <a:avLst/>
          </a:prstGeom>
        </p:spPr>
      </p:pic>
      <p:sp>
        <p:nvSpPr>
          <p:cNvPr id="10" name="object 11">
            <a:extLst>
              <a:ext uri="{FF2B5EF4-FFF2-40B4-BE49-F238E27FC236}">
                <a16:creationId xmlns:a16="http://schemas.microsoft.com/office/drawing/2014/main" id="{15CDD9D3-0E64-C244-A7E0-FEB1389F23EE}"/>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5" name="Text Placeholder 14">
            <a:extLst>
              <a:ext uri="{FF2B5EF4-FFF2-40B4-BE49-F238E27FC236}">
                <a16:creationId xmlns:a16="http://schemas.microsoft.com/office/drawing/2014/main" id="{24A98F71-6812-6048-AE98-5BC31C8E355A}"/>
              </a:ext>
            </a:extLst>
          </p:cNvPr>
          <p:cNvSpPr>
            <a:spLocks noGrp="1"/>
          </p:cNvSpPr>
          <p:nvPr>
            <p:ph type="body" sz="quarter" idx="11" hasCustomPrompt="1"/>
          </p:nvPr>
        </p:nvSpPr>
        <p:spPr>
          <a:xfrm>
            <a:off x="1484576" y="4113726"/>
            <a:ext cx="7096346"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600" b="1" kern="0" spc="10" dirty="0"/>
              <a:t>COVER TITLE </a:t>
            </a:r>
            <a:r>
              <a:rPr lang="en-ZA" sz="3600" b="1" kern="0" spc="15" dirty="0"/>
              <a:t>GOES </a:t>
            </a:r>
            <a:r>
              <a:rPr lang="en-ZA" sz="3600" b="1" kern="0" spc="10" dirty="0"/>
              <a:t>HERE </a:t>
            </a:r>
            <a:r>
              <a:rPr lang="en-ZA" sz="3600" b="1" kern="0" spc="15" dirty="0"/>
              <a:t>ON TWO </a:t>
            </a:r>
            <a:r>
              <a:rPr lang="en-ZA" sz="3600" b="1" kern="0" spc="10" dirty="0"/>
              <a:t>LINES </a:t>
            </a:r>
            <a:r>
              <a:rPr lang="en-ZA" sz="3600" b="1" kern="0" spc="5" dirty="0"/>
              <a:t>IF</a:t>
            </a:r>
            <a:r>
              <a:rPr lang="en-ZA" sz="3600" b="1" kern="0" spc="-260" dirty="0"/>
              <a:t> </a:t>
            </a:r>
            <a:r>
              <a:rPr lang="en-ZA" sz="3600" b="1" kern="0" spc="-25" dirty="0"/>
              <a:t>NECESSARY</a:t>
            </a:r>
            <a:endParaRPr lang="en-ZA" sz="3600" b="1" kern="0" dirty="0"/>
          </a:p>
        </p:txBody>
      </p:sp>
      <p:sp>
        <p:nvSpPr>
          <p:cNvPr id="17" name="Text Placeholder 16">
            <a:extLst>
              <a:ext uri="{FF2B5EF4-FFF2-40B4-BE49-F238E27FC236}">
                <a16:creationId xmlns:a16="http://schemas.microsoft.com/office/drawing/2014/main" id="{3160532D-FAF0-F947-B3C7-16329EF4DE7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7836953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025B11-0C5E-C645-A4EC-E57396561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7" name="object 11">
            <a:extLst>
              <a:ext uri="{FF2B5EF4-FFF2-40B4-BE49-F238E27FC236}">
                <a16:creationId xmlns:a16="http://schemas.microsoft.com/office/drawing/2014/main" id="{AA826F37-1925-5A44-A1C7-3A4E9EC9FB90}"/>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0" name="Text Placeholder 14">
            <a:extLst>
              <a:ext uri="{FF2B5EF4-FFF2-40B4-BE49-F238E27FC236}">
                <a16:creationId xmlns:a16="http://schemas.microsoft.com/office/drawing/2014/main" id="{8DF2816A-0AE4-C046-8EAA-2506B1295E3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1" name="Text Placeholder 16">
            <a:extLst>
              <a:ext uri="{FF2B5EF4-FFF2-40B4-BE49-F238E27FC236}">
                <a16:creationId xmlns:a16="http://schemas.microsoft.com/office/drawing/2014/main" id="{2D868911-2D85-8048-A124-6D52483BF8BE}"/>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7825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12C5C9-F935-3548-B824-61A3063436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8" name="object 11">
            <a:extLst>
              <a:ext uri="{FF2B5EF4-FFF2-40B4-BE49-F238E27FC236}">
                <a16:creationId xmlns:a16="http://schemas.microsoft.com/office/drawing/2014/main" id="{A13E0821-30F1-154B-B952-D551A3B75F00}"/>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Text Placeholder 14">
            <a:extLst>
              <a:ext uri="{FF2B5EF4-FFF2-40B4-BE49-F238E27FC236}">
                <a16:creationId xmlns:a16="http://schemas.microsoft.com/office/drawing/2014/main" id="{C4D281C8-828A-0645-B9B6-6181454FE711}"/>
              </a:ext>
            </a:extLst>
          </p:cNvPr>
          <p:cNvSpPr>
            <a:spLocks noGrp="1"/>
          </p:cNvSpPr>
          <p:nvPr>
            <p:ph type="body" sz="quarter" idx="11" hasCustomPrompt="1"/>
          </p:nvPr>
        </p:nvSpPr>
        <p:spPr>
          <a:xfrm>
            <a:off x="1484575" y="4113726"/>
            <a:ext cx="7337963" cy="1103312"/>
          </a:xfrm>
          <a:prstGeom prst="rect">
            <a:avLst/>
          </a:prstGeom>
        </p:spPr>
        <p:txBody>
          <a:bodyPr/>
          <a:lstStyle>
            <a:lvl1pPr marL="12700" marR="5080" indent="0">
              <a:lnSpc>
                <a:spcPct val="105500"/>
              </a:lnSpc>
              <a:spcBef>
                <a:spcPts val="95"/>
              </a:spcBef>
              <a:buNone/>
              <a:defRPr sz="360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2" name="Text Placeholder 16">
            <a:extLst>
              <a:ext uri="{FF2B5EF4-FFF2-40B4-BE49-F238E27FC236}">
                <a16:creationId xmlns:a16="http://schemas.microsoft.com/office/drawing/2014/main" id="{89AB7C3A-09EE-CE4B-8F93-302A854183CD}"/>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3735295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6857999"/>
          </a:xfrm>
          <a:prstGeom prst="rect">
            <a:avLst/>
          </a:prstGeom>
        </p:spPr>
      </p:pic>
      <p:pic>
        <p:nvPicPr>
          <p:cNvPr id="36" name="Picture 35">
            <a:extLst>
              <a:ext uri="{FF2B5EF4-FFF2-40B4-BE49-F238E27FC236}">
                <a16:creationId xmlns:a16="http://schemas.microsoft.com/office/drawing/2014/main" id="{9EC94F4C-B162-E145-8489-09A48D24AF8B}"/>
              </a:ext>
            </a:extLst>
          </p:cNvPr>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1" y="2"/>
            <a:ext cx="12192000" cy="685799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pic>
        <p:nvPicPr>
          <p:cNvPr id="42" name="Picture 41">
            <a:extLst>
              <a:ext uri="{FF2B5EF4-FFF2-40B4-BE49-F238E27FC236}">
                <a16:creationId xmlns:a16="http://schemas.microsoft.com/office/drawing/2014/main" id="{CB87D61F-0993-4C48-813B-B379F7D6F2B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83001" y="473719"/>
            <a:ext cx="2777874" cy="1161287"/>
          </a:xfrm>
          <a:prstGeom prst="rect">
            <a:avLst/>
          </a:prstGeom>
        </p:spPr>
      </p:pic>
    </p:spTree>
    <p:extLst>
      <p:ext uri="{BB962C8B-B14F-4D97-AF65-F5344CB8AC3E}">
        <p14:creationId xmlns:p14="http://schemas.microsoft.com/office/powerpoint/2010/main" val="3980908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and Vertic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65ED8-0D04-E74D-9581-2BF7CEA27E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36" name="Picture 35">
            <a:extLst>
              <a:ext uri="{FF2B5EF4-FFF2-40B4-BE49-F238E27FC236}">
                <a16:creationId xmlns:a16="http://schemas.microsoft.com/office/drawing/2014/main" id="{9EC94F4C-B162-E145-8489-09A48D24AF8B}"/>
              </a:ext>
            </a:extLst>
          </p:cNvPr>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1" y="1"/>
            <a:ext cx="12192000" cy="685799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pic>
        <p:nvPicPr>
          <p:cNvPr id="42" name="Picture 41">
            <a:extLst>
              <a:ext uri="{FF2B5EF4-FFF2-40B4-BE49-F238E27FC236}">
                <a16:creationId xmlns:a16="http://schemas.microsoft.com/office/drawing/2014/main" id="{CB87D61F-0993-4C48-813B-B379F7D6F2B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83001" y="473719"/>
            <a:ext cx="2777874" cy="1161287"/>
          </a:xfrm>
          <a:prstGeom prst="rect">
            <a:avLst/>
          </a:prstGeom>
        </p:spPr>
      </p:pic>
    </p:spTree>
    <p:extLst>
      <p:ext uri="{BB962C8B-B14F-4D97-AF65-F5344CB8AC3E}">
        <p14:creationId xmlns:p14="http://schemas.microsoft.com/office/powerpoint/2010/main" val="24470190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68057691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185368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77286540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1718512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3002164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7126234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F9668B-79E7-0D4F-9005-020048500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9" name="object 11">
            <a:extLst>
              <a:ext uri="{FF2B5EF4-FFF2-40B4-BE49-F238E27FC236}">
                <a16:creationId xmlns:a16="http://schemas.microsoft.com/office/drawing/2014/main" id="{51C1E120-73D3-F54F-A4FF-45B281C99B5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2" name="Text Placeholder 14">
            <a:extLst>
              <a:ext uri="{FF2B5EF4-FFF2-40B4-BE49-F238E27FC236}">
                <a16:creationId xmlns:a16="http://schemas.microsoft.com/office/drawing/2014/main" id="{8B1908B7-F9B1-3544-9013-7B356269A82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3" name="Text Placeholder 16">
            <a:extLst>
              <a:ext uri="{FF2B5EF4-FFF2-40B4-BE49-F238E27FC236}">
                <a16:creationId xmlns:a16="http://schemas.microsoft.com/office/drawing/2014/main" id="{759545F2-4665-B041-B591-186383A0FD46}"/>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803470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 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8F99CAC-C0C8-2644-91FF-26FA30833BBF}"/>
              </a:ext>
            </a:extLst>
          </p:cNvPr>
          <p:cNvSpPr>
            <a:spLocks noGrp="1"/>
          </p:cNvSpPr>
          <p:nvPr>
            <p:ph type="subTitle" idx="1" hasCustomPrompt="1"/>
          </p:nvPr>
        </p:nvSpPr>
        <p:spPr>
          <a:xfrm>
            <a:off x="632602" y="1720557"/>
            <a:ext cx="5534399" cy="4256497"/>
          </a:xfrm>
          <a:prstGeom prst="rect">
            <a:avLst/>
          </a:prstGeom>
        </p:spPr>
        <p:txBody>
          <a:bodyPr/>
          <a:lstStyle>
            <a:lvl1pPr marL="7521" marR="3008" indent="0" algn="l">
              <a:lnSpc>
                <a:spcPct val="144400"/>
              </a:lnSpc>
              <a:spcBef>
                <a:spcPts val="56"/>
              </a:spcBef>
              <a:buFont typeface="Arial" panose="020B0604020202020204" pitchFamily="34" charset="0"/>
              <a:buNone/>
              <a:defRPr sz="1720">
                <a:solidFill>
                  <a:schemeClr val="tx1">
                    <a:lumMod val="50000"/>
                    <a:lumOff val="50000"/>
                  </a:schemeClr>
                </a:solidFill>
              </a:defRPr>
            </a:lvl1pPr>
            <a:lvl2pPr marL="541508" indent="-270754" algn="l">
              <a:spcBef>
                <a:spcPts val="0"/>
              </a:spcBef>
              <a:buFont typeface="Arial" panose="020B0604020202020204" pitchFamily="34" charset="0"/>
              <a:buChar char="•"/>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7521" marR="3008">
              <a:lnSpc>
                <a:spcPct val="144400"/>
              </a:lnSpc>
              <a:spcBef>
                <a:spcPts val="56"/>
              </a:spcBef>
            </a:pP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rem ipsu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olo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si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m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ctetu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dipiscing</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l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e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nummy</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bh</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uismo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incidun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aore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dolore </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magna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rat</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olutpat</a:t>
            </a:r>
            <a:r>
              <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wisi</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ni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d  mini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en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qu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stru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2"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erci</a:t>
            </a:r>
            <a:r>
              <a:rPr lang="en-GB" sz="1717" spc="-12"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ation</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llamcorp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uscip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bort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sl</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ip</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5"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a</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mmodo</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qua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t>
            </a:r>
            <a:endPar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Picture Placeholder 4">
            <a:extLst>
              <a:ext uri="{FF2B5EF4-FFF2-40B4-BE49-F238E27FC236}">
                <a16:creationId xmlns:a16="http://schemas.microsoft.com/office/drawing/2014/main" id="{A4A892B8-0B4A-6249-9EFA-E629D609104A}"/>
              </a:ext>
            </a:extLst>
          </p:cNvPr>
          <p:cNvSpPr>
            <a:spLocks noGrp="1"/>
          </p:cNvSpPr>
          <p:nvPr>
            <p:ph type="pic" sz="quarter" idx="13" hasCustomPrompt="1"/>
          </p:nvPr>
        </p:nvSpPr>
        <p:spPr>
          <a:xfrm>
            <a:off x="6303292" y="1720850"/>
            <a:ext cx="5357066" cy="4256088"/>
          </a:xfrm>
          <a:prstGeom prst="rect">
            <a:avLst/>
          </a:prstGeom>
        </p:spPr>
        <p:txBody>
          <a:bodyPr/>
          <a:lstStyle>
            <a:lvl1pPr marL="0" indent="0">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Insert picture here</a:t>
            </a:r>
          </a:p>
        </p:txBody>
      </p:sp>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34035222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 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8F99CAC-C0C8-2644-91FF-26FA30833BBF}"/>
              </a:ext>
            </a:extLst>
          </p:cNvPr>
          <p:cNvSpPr>
            <a:spLocks noGrp="1"/>
          </p:cNvSpPr>
          <p:nvPr>
            <p:ph type="subTitle" idx="1" hasCustomPrompt="1"/>
          </p:nvPr>
        </p:nvSpPr>
        <p:spPr>
          <a:xfrm>
            <a:off x="632602" y="1720557"/>
            <a:ext cx="3638617" cy="4256497"/>
          </a:xfrm>
          <a:prstGeom prst="rect">
            <a:avLst/>
          </a:prstGeom>
        </p:spPr>
        <p:txBody>
          <a:bodyPr/>
          <a:lstStyle>
            <a:lvl1pPr marL="7521" marR="3008" indent="0" algn="l">
              <a:lnSpc>
                <a:spcPct val="144400"/>
              </a:lnSpc>
              <a:spcBef>
                <a:spcPts val="56"/>
              </a:spcBef>
              <a:buFont typeface="Arial" panose="020B0604020202020204" pitchFamily="34" charset="0"/>
              <a:buNone/>
              <a:defRPr sz="1720">
                <a:solidFill>
                  <a:schemeClr val="tx1">
                    <a:lumMod val="50000"/>
                    <a:lumOff val="50000"/>
                  </a:schemeClr>
                </a:solidFill>
                <a:latin typeface="+mj-lt"/>
              </a:defRPr>
            </a:lvl1pPr>
            <a:lvl2pPr marL="541508" indent="-270754" algn="l">
              <a:spcBef>
                <a:spcPts val="0"/>
              </a:spcBef>
              <a:buFont typeface="Arial" panose="020B0604020202020204" pitchFamily="34" charset="0"/>
              <a:buChar char="•"/>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7521" marR="3008">
              <a:lnSpc>
                <a:spcPct val="144400"/>
              </a:lnSpc>
              <a:spcBef>
                <a:spcPts val="56"/>
              </a:spcBef>
            </a:pP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rem ipsu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olo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si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m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ctetu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dipiscing</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l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e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nummy</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bh</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uismo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incidun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aore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dolore </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magna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rat</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olutpat</a:t>
            </a:r>
            <a:r>
              <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wisi</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ni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d  mini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en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qu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stru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2"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erci</a:t>
            </a:r>
            <a:r>
              <a:rPr lang="en-GB" sz="1717" spc="-12"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ation</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llamcorp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uscip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bort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sl</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ip</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5"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a</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mmodo</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qua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t>
            </a:r>
            <a:endPar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Picture Placeholder 4">
            <a:extLst>
              <a:ext uri="{FF2B5EF4-FFF2-40B4-BE49-F238E27FC236}">
                <a16:creationId xmlns:a16="http://schemas.microsoft.com/office/drawing/2014/main" id="{A4A892B8-0B4A-6249-9EFA-E629D609104A}"/>
              </a:ext>
            </a:extLst>
          </p:cNvPr>
          <p:cNvSpPr>
            <a:spLocks noGrp="1"/>
          </p:cNvSpPr>
          <p:nvPr>
            <p:ph type="pic" sz="quarter" idx="13" hasCustomPrompt="1"/>
          </p:nvPr>
        </p:nvSpPr>
        <p:spPr>
          <a:xfrm>
            <a:off x="8142723" y="1720850"/>
            <a:ext cx="3517635" cy="425608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700" b="0" i="0">
                <a:solidFill>
                  <a:schemeClr val="tx1">
                    <a:lumMod val="50000"/>
                    <a:lumOff val="50000"/>
                  </a:schemeClr>
                </a:solidFill>
                <a:latin typeface="+mj-lt"/>
              </a:defRPr>
            </a:lvl1pPr>
          </a:lstStyle>
          <a:p>
            <a:r>
              <a:rPr lang="en-US" dirty="0"/>
              <a:t>Insert picture here</a:t>
            </a:r>
          </a:p>
        </p:txBody>
      </p:sp>
      <p:sp>
        <p:nvSpPr>
          <p:cNvPr id="7" name="Picture Placeholder 4">
            <a:extLst>
              <a:ext uri="{FF2B5EF4-FFF2-40B4-BE49-F238E27FC236}">
                <a16:creationId xmlns:a16="http://schemas.microsoft.com/office/drawing/2014/main" id="{801D9373-91B2-634E-8628-CADF6ABD9194}"/>
              </a:ext>
            </a:extLst>
          </p:cNvPr>
          <p:cNvSpPr>
            <a:spLocks noGrp="1"/>
          </p:cNvSpPr>
          <p:nvPr>
            <p:ph type="pic" sz="quarter" idx="14" hasCustomPrompt="1"/>
          </p:nvPr>
        </p:nvSpPr>
        <p:spPr>
          <a:xfrm>
            <a:off x="4522465" y="1720850"/>
            <a:ext cx="3369011" cy="4256088"/>
          </a:xfrm>
          <a:prstGeom prst="rect">
            <a:avLst/>
          </a:prstGeom>
        </p:spPr>
        <p:txBody>
          <a:bodyPr/>
          <a:lstStyle>
            <a:lvl1pPr marL="0" indent="0">
              <a:buNone/>
              <a:defRPr sz="1700" b="0" i="0">
                <a:solidFill>
                  <a:schemeClr val="tx1">
                    <a:lumMod val="50000"/>
                    <a:lumOff val="50000"/>
                  </a:schemeClr>
                </a:solidFill>
                <a:latin typeface="+mj-lt"/>
              </a:defRPr>
            </a:lvl1pPr>
          </a:lstStyle>
          <a:p>
            <a:r>
              <a:rPr lang="en-US" dirty="0"/>
              <a:t>Insert picture here</a:t>
            </a:r>
          </a:p>
        </p:txBody>
      </p:sp>
      <p:sp>
        <p:nvSpPr>
          <p:cNvPr id="9" name="Title 1">
            <a:extLst>
              <a:ext uri="{FF2B5EF4-FFF2-40B4-BE49-F238E27FC236}">
                <a16:creationId xmlns:a16="http://schemas.microsoft.com/office/drawing/2014/main" id="{F2164D2E-888D-4DD8-8290-840EBC12D52D}"/>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34328454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 TITLE SLID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800A1350-7746-0E4A-91DF-E2AB607ADA59}"/>
              </a:ext>
            </a:extLst>
          </p:cNvPr>
          <p:cNvSpPr>
            <a:spLocks noGrp="1"/>
          </p:cNvSpPr>
          <p:nvPr>
            <p:ph type="tbl" sz="quarter" idx="10"/>
          </p:nvPr>
        </p:nvSpPr>
        <p:spPr>
          <a:xfrm>
            <a:off x="632444" y="1806576"/>
            <a:ext cx="11039295" cy="4181475"/>
          </a:xfrm>
          <a:prstGeom prst="rect">
            <a:avLst/>
          </a:prstGeom>
        </p:spPr>
        <p:txBody>
          <a:bodyPr/>
          <a:lstStyle>
            <a:lvl1pPr marL="0" indent="0">
              <a:buNone/>
              <a:defRPr sz="25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6" name="Title 1">
            <a:extLst>
              <a:ext uri="{FF2B5EF4-FFF2-40B4-BE49-F238E27FC236}">
                <a16:creationId xmlns:a16="http://schemas.microsoft.com/office/drawing/2014/main" id="{9614A6C0-0093-4A32-90F2-B8823E3AAB8F}"/>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24386780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2E115C-2C26-014B-A82E-C6786F3DA9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alphaModFix amt="51000"/>
            <a:extLst>
              <a:ext uri="{28A0092B-C50C-407E-A947-70E740481C1C}">
                <a14:useLocalDpi xmlns:a14="http://schemas.microsoft.com/office/drawing/2010/main"/>
              </a:ext>
            </a:extLst>
          </a:blip>
          <a:stretch>
            <a:fillRect/>
          </a:stretch>
        </p:blipFill>
        <p:spPr>
          <a:xfrm>
            <a:off x="0" y="-1"/>
            <a:ext cx="12192000" cy="6857519"/>
          </a:xfrm>
          <a:prstGeom prst="rect">
            <a:avLst/>
          </a:prstGeom>
        </p:spPr>
      </p:pic>
      <p:sp>
        <p:nvSpPr>
          <p:cNvPr id="31" name="object 4">
            <a:extLst>
              <a:ext uri="{FF2B5EF4-FFF2-40B4-BE49-F238E27FC236}">
                <a16:creationId xmlns:a16="http://schemas.microsoft.com/office/drawing/2014/main" id="{61CF7A6D-5685-6042-A629-3C5635BBC234}"/>
              </a:ext>
            </a:extLst>
          </p:cNvPr>
          <p:cNvSpPr/>
          <p:nvPr userDrawn="1"/>
        </p:nvSpPr>
        <p:spPr>
          <a:xfrm>
            <a:off x="635835" y="61751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p>
        </p:txBody>
      </p:sp>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p>
          </p:txBody>
        </p:sp>
      </p:grpSp>
    </p:spTree>
    <p:extLst>
      <p:ext uri="{BB962C8B-B14F-4D97-AF65-F5344CB8AC3E}">
        <p14:creationId xmlns:p14="http://schemas.microsoft.com/office/powerpoint/2010/main" val="1709091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82" y="0"/>
            <a:ext cx="12186639" cy="6857760"/>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32816007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2210879-F914-1844-A75A-92744177F940}"/>
              </a:ext>
            </a:extLst>
          </p:cNvPr>
          <p:cNvSpPr>
            <a:spLocks noGrp="1"/>
          </p:cNvSpPr>
          <p:nvPr>
            <p:ph type="ctrTitle" hasCustomPrompt="1"/>
          </p:nvPr>
        </p:nvSpPr>
        <p:spPr>
          <a:xfrm>
            <a:off x="632603" y="334537"/>
            <a:ext cx="9145218" cy="1035307"/>
          </a:xfrm>
          <a:prstGeom prst="rect">
            <a:avLst/>
          </a:prstGeom>
        </p:spPr>
        <p:txBody>
          <a:bodyPr anchor="b"/>
          <a:lstStyle>
            <a:lvl1pPr marL="12700" algn="l">
              <a:spcBef>
                <a:spcPts val="115"/>
              </a:spcBef>
              <a:defRPr sz="31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pPr marL="12700" algn="l">
              <a:spcBef>
                <a:spcPts val="115"/>
              </a:spcBef>
            </a:pPr>
            <a:r>
              <a:rPr lang="en-ZA" sz="3200" kern="0" spc="5" dirty="0">
                <a:solidFill>
                  <a:schemeClr val="tx1">
                    <a:lumMod val="65000"/>
                    <a:lumOff val="35000"/>
                  </a:schemeClr>
                </a:solidFill>
                <a:ea typeface="Tahoma" panose="020B0604030504040204" pitchFamily="34" charset="0"/>
              </a:rPr>
              <a:t>SLIDE TITLE GOES</a:t>
            </a:r>
            <a:r>
              <a:rPr lang="en-ZA" sz="3200" kern="0" spc="-165" dirty="0">
                <a:solidFill>
                  <a:schemeClr val="tx1">
                    <a:lumMod val="65000"/>
                    <a:lumOff val="35000"/>
                  </a:schemeClr>
                </a:solidFill>
                <a:ea typeface="Tahoma" panose="020B0604030504040204" pitchFamily="34" charset="0"/>
              </a:rPr>
              <a:t> </a:t>
            </a:r>
            <a:r>
              <a:rPr lang="en-ZA" sz="3200" kern="0" spc="5" dirty="0">
                <a:solidFill>
                  <a:schemeClr val="tx1">
                    <a:lumMod val="65000"/>
                    <a:lumOff val="35000"/>
                  </a:schemeClr>
                </a:solidFill>
                <a:ea typeface="Tahoma" panose="020B0604030504040204" pitchFamily="34" charset="0"/>
              </a:rPr>
              <a:t>HERE</a:t>
            </a:r>
            <a:br>
              <a:rPr lang="en-ZA" sz="3200" kern="0" spc="5" dirty="0">
                <a:solidFill>
                  <a:schemeClr val="tx1">
                    <a:lumMod val="65000"/>
                    <a:lumOff val="35000"/>
                  </a:schemeClr>
                </a:solidFill>
                <a:ea typeface="Tahoma" panose="020B0604030504040204" pitchFamily="34" charset="0"/>
              </a:rPr>
            </a:br>
            <a:r>
              <a:rPr lang="en-ZA" sz="3200" kern="0" spc="5" dirty="0">
                <a:solidFill>
                  <a:schemeClr val="tx1">
                    <a:lumMod val="65000"/>
                    <a:lumOff val="35000"/>
                  </a:schemeClr>
                </a:solidFill>
                <a:ea typeface="Tahoma" panose="020B0604030504040204" pitchFamily="34" charset="0"/>
              </a:rPr>
              <a:t>ON </a:t>
            </a:r>
            <a:r>
              <a:rPr lang="en-ZA" sz="3200" kern="0" spc="10" dirty="0">
                <a:solidFill>
                  <a:schemeClr val="tx1">
                    <a:lumMod val="65000"/>
                    <a:lumOff val="35000"/>
                  </a:schemeClr>
                </a:solidFill>
                <a:ea typeface="Tahoma" panose="020B0604030504040204" pitchFamily="34" charset="0"/>
              </a:rPr>
              <a:t>TWO </a:t>
            </a:r>
            <a:r>
              <a:rPr lang="en-ZA" sz="3200" kern="0" spc="5" dirty="0">
                <a:solidFill>
                  <a:schemeClr val="tx1">
                    <a:lumMod val="65000"/>
                    <a:lumOff val="35000"/>
                  </a:schemeClr>
                </a:solidFill>
                <a:ea typeface="Tahoma" panose="020B0604030504040204" pitchFamily="34" charset="0"/>
              </a:rPr>
              <a:t>LINES IF</a:t>
            </a:r>
            <a:r>
              <a:rPr lang="en-ZA" sz="3200" kern="0" spc="-235" dirty="0">
                <a:solidFill>
                  <a:schemeClr val="tx1">
                    <a:lumMod val="65000"/>
                    <a:lumOff val="35000"/>
                  </a:schemeClr>
                </a:solidFill>
                <a:ea typeface="Tahoma" panose="020B0604030504040204" pitchFamily="34" charset="0"/>
              </a:rPr>
              <a:t> </a:t>
            </a:r>
            <a:r>
              <a:rPr lang="en-ZA" sz="3200" kern="0" spc="-25" dirty="0">
                <a:solidFill>
                  <a:schemeClr val="tx1">
                    <a:lumMod val="65000"/>
                    <a:lumOff val="35000"/>
                  </a:schemeClr>
                </a:solidFill>
                <a:ea typeface="Tahoma" panose="020B0604030504040204" pitchFamily="34" charset="0"/>
              </a:rPr>
              <a:t>NECESSARY</a:t>
            </a:r>
          </a:p>
        </p:txBody>
      </p:sp>
    </p:spTree>
    <p:extLst>
      <p:ext uri="{BB962C8B-B14F-4D97-AF65-F5344CB8AC3E}">
        <p14:creationId xmlns:p14="http://schemas.microsoft.com/office/powerpoint/2010/main" val="2505605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9E674D-CCDE-664E-B7E1-6EDFB0E31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1" name="object 11">
            <a:extLst>
              <a:ext uri="{FF2B5EF4-FFF2-40B4-BE49-F238E27FC236}">
                <a16:creationId xmlns:a16="http://schemas.microsoft.com/office/drawing/2014/main" id="{E90EF58E-9D3B-454C-9B65-D7E07EDA99D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4" name="Text Placeholder 14">
            <a:extLst>
              <a:ext uri="{FF2B5EF4-FFF2-40B4-BE49-F238E27FC236}">
                <a16:creationId xmlns:a16="http://schemas.microsoft.com/office/drawing/2014/main" id="{15701DDF-9C44-2A4B-8206-1D538DE5975C}"/>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5" name="Text Placeholder 16">
            <a:extLst>
              <a:ext uri="{FF2B5EF4-FFF2-40B4-BE49-F238E27FC236}">
                <a16:creationId xmlns:a16="http://schemas.microsoft.com/office/drawing/2014/main" id="{E2BAA37B-DBFE-AC46-B1AB-651D09F1782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4134788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025B11-0C5E-C645-A4EC-E57396561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7" name="object 11">
            <a:extLst>
              <a:ext uri="{FF2B5EF4-FFF2-40B4-BE49-F238E27FC236}">
                <a16:creationId xmlns:a16="http://schemas.microsoft.com/office/drawing/2014/main" id="{AA826F37-1925-5A44-A1C7-3A4E9EC9FB90}"/>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0" name="Text Placeholder 14">
            <a:extLst>
              <a:ext uri="{FF2B5EF4-FFF2-40B4-BE49-F238E27FC236}">
                <a16:creationId xmlns:a16="http://schemas.microsoft.com/office/drawing/2014/main" id="{8DF2816A-0AE4-C046-8EAA-2506B1295E3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1" name="Text Placeholder 16">
            <a:extLst>
              <a:ext uri="{FF2B5EF4-FFF2-40B4-BE49-F238E27FC236}">
                <a16:creationId xmlns:a16="http://schemas.microsoft.com/office/drawing/2014/main" id="{2D868911-2D85-8048-A124-6D52483BF8BE}"/>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3036854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4054180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0"/>
            <a:ext cx="12192000" cy="6857760"/>
          </a:xfrm>
          <a:prstGeom prst="rect">
            <a:avLst/>
          </a:prstGeom>
        </p:spPr>
      </p:pic>
      <p:pic>
        <p:nvPicPr>
          <p:cNvPr id="8" name="Picture 7">
            <a:extLst>
              <a:ext uri="{FF2B5EF4-FFF2-40B4-BE49-F238E27FC236}">
                <a16:creationId xmlns:a16="http://schemas.microsoft.com/office/drawing/2014/main" id="{CA168938-5473-7946-AFE1-2959A4E9E80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1" y="242"/>
            <a:ext cx="12192000" cy="685751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grpSp>
        <p:nvGrpSpPr>
          <p:cNvPr id="10" name="Group 9">
            <a:extLst>
              <a:ext uri="{FF2B5EF4-FFF2-40B4-BE49-F238E27FC236}">
                <a16:creationId xmlns:a16="http://schemas.microsoft.com/office/drawing/2014/main" id="{26B080B6-7194-3240-93BB-D36E2458D1B4}"/>
              </a:ext>
            </a:extLst>
          </p:cNvPr>
          <p:cNvGrpSpPr/>
          <p:nvPr userDrawn="1"/>
        </p:nvGrpSpPr>
        <p:grpSpPr>
          <a:xfrm>
            <a:off x="8986233" y="473720"/>
            <a:ext cx="2774642" cy="1163669"/>
            <a:chOff x="14817924" y="781197"/>
            <a:chExt cx="4575269" cy="1918977"/>
          </a:xfrm>
        </p:grpSpPr>
        <p:sp>
          <p:nvSpPr>
            <p:cNvPr id="11" name="object 6">
              <a:extLst>
                <a:ext uri="{FF2B5EF4-FFF2-40B4-BE49-F238E27FC236}">
                  <a16:creationId xmlns:a16="http://schemas.microsoft.com/office/drawing/2014/main" id="{169C230C-9F59-7549-9F33-17FCEEC6130C}"/>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2" name="object 7">
              <a:extLst>
                <a:ext uri="{FF2B5EF4-FFF2-40B4-BE49-F238E27FC236}">
                  <a16:creationId xmlns:a16="http://schemas.microsoft.com/office/drawing/2014/main" id="{DB7958D2-2178-E447-BA2A-02431C505DCE}"/>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object 8">
              <a:extLst>
                <a:ext uri="{FF2B5EF4-FFF2-40B4-BE49-F238E27FC236}">
                  <a16:creationId xmlns:a16="http://schemas.microsoft.com/office/drawing/2014/main" id="{143BB172-2124-924D-9AAC-A275C6BF467B}"/>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637" b="0" i="0" dirty="0">
                <a:latin typeface="Tahoma Regular"/>
              </a:endParaRPr>
            </a:p>
          </p:txBody>
        </p:sp>
        <p:sp>
          <p:nvSpPr>
            <p:cNvPr id="14" name="object 9">
              <a:extLst>
                <a:ext uri="{FF2B5EF4-FFF2-40B4-BE49-F238E27FC236}">
                  <a16:creationId xmlns:a16="http://schemas.microsoft.com/office/drawing/2014/main" id="{F2CAB43E-A109-B64A-A95C-3E99F34FADD0}"/>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637" b="0" i="0" dirty="0">
                <a:latin typeface="Tahoma Regular"/>
              </a:endParaRPr>
            </a:p>
          </p:txBody>
        </p:sp>
        <p:sp>
          <p:nvSpPr>
            <p:cNvPr id="15" name="object 10">
              <a:extLst>
                <a:ext uri="{FF2B5EF4-FFF2-40B4-BE49-F238E27FC236}">
                  <a16:creationId xmlns:a16="http://schemas.microsoft.com/office/drawing/2014/main" id="{FE861E66-55E8-824E-B63D-92F6BA1D3F82}"/>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637" b="0" i="0" dirty="0">
                <a:latin typeface="Tahoma Regular"/>
              </a:endParaRPr>
            </a:p>
          </p:txBody>
        </p:sp>
        <p:sp>
          <p:nvSpPr>
            <p:cNvPr id="16" name="object 11">
              <a:extLst>
                <a:ext uri="{FF2B5EF4-FFF2-40B4-BE49-F238E27FC236}">
                  <a16:creationId xmlns:a16="http://schemas.microsoft.com/office/drawing/2014/main" id="{89F2B1CD-283D-8D49-9031-F583EEDDBD20}"/>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637" b="0" i="0" dirty="0">
                <a:latin typeface="Tahoma Regular"/>
              </a:endParaRPr>
            </a:p>
          </p:txBody>
        </p:sp>
        <p:sp>
          <p:nvSpPr>
            <p:cNvPr id="17" name="object 12">
              <a:extLst>
                <a:ext uri="{FF2B5EF4-FFF2-40B4-BE49-F238E27FC236}">
                  <a16:creationId xmlns:a16="http://schemas.microsoft.com/office/drawing/2014/main" id="{A3AEED8B-2455-654D-9D56-225360A26FB8}"/>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8" name="object 13">
              <a:extLst>
                <a:ext uri="{FF2B5EF4-FFF2-40B4-BE49-F238E27FC236}">
                  <a16:creationId xmlns:a16="http://schemas.microsoft.com/office/drawing/2014/main" id="{0096DAB9-5EDF-D345-80D2-021DDBE35D6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637" b="0" i="0" dirty="0">
                <a:latin typeface="Tahoma Regular"/>
              </a:endParaRPr>
            </a:p>
          </p:txBody>
        </p:sp>
        <p:sp>
          <p:nvSpPr>
            <p:cNvPr id="19" name="object 14">
              <a:extLst>
                <a:ext uri="{FF2B5EF4-FFF2-40B4-BE49-F238E27FC236}">
                  <a16:creationId xmlns:a16="http://schemas.microsoft.com/office/drawing/2014/main" id="{B3D66C4D-343E-C14C-BB14-19CD1BBF4D0B}"/>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0" name="object 15">
              <a:extLst>
                <a:ext uri="{FF2B5EF4-FFF2-40B4-BE49-F238E27FC236}">
                  <a16:creationId xmlns:a16="http://schemas.microsoft.com/office/drawing/2014/main" id="{DD1990A4-57AD-874B-8888-F8607CC666CD}"/>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637" b="0" i="0" dirty="0">
                <a:latin typeface="Tahoma Regular"/>
              </a:endParaRPr>
            </a:p>
          </p:txBody>
        </p:sp>
        <p:sp>
          <p:nvSpPr>
            <p:cNvPr id="21" name="object 16">
              <a:extLst>
                <a:ext uri="{FF2B5EF4-FFF2-40B4-BE49-F238E27FC236}">
                  <a16:creationId xmlns:a16="http://schemas.microsoft.com/office/drawing/2014/main" id="{36FFF5F6-7CF5-ED4E-AF83-0836CA4137A0}"/>
                </a:ext>
              </a:extLst>
            </p:cNvPr>
            <p:cNvSpPr/>
            <p:nvPr/>
          </p:nvSpPr>
          <p:spPr>
            <a:xfrm>
              <a:off x="15924490"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2" name="object 17">
              <a:extLst>
                <a:ext uri="{FF2B5EF4-FFF2-40B4-BE49-F238E27FC236}">
                  <a16:creationId xmlns:a16="http://schemas.microsoft.com/office/drawing/2014/main" id="{461B1837-6D25-F24D-9DCE-04A412752305}"/>
                </a:ext>
              </a:extLst>
            </p:cNvPr>
            <p:cNvSpPr/>
            <p:nvPr/>
          </p:nvSpPr>
          <p:spPr>
            <a:xfrm>
              <a:off x="16083729" y="2542734"/>
              <a:ext cx="98991" cy="157440"/>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3" name="object 18">
              <a:extLst>
                <a:ext uri="{FF2B5EF4-FFF2-40B4-BE49-F238E27FC236}">
                  <a16:creationId xmlns:a16="http://schemas.microsoft.com/office/drawing/2014/main" id="{C3EA702A-F812-7F49-9722-8D11B7BF02BF}"/>
                </a:ext>
              </a:extLst>
            </p:cNvPr>
            <p:cNvSpPr/>
            <p:nvPr/>
          </p:nvSpPr>
          <p:spPr>
            <a:xfrm>
              <a:off x="16203392" y="2494664"/>
              <a:ext cx="81327" cy="152152"/>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4" name="object 19">
              <a:extLst>
                <a:ext uri="{FF2B5EF4-FFF2-40B4-BE49-F238E27FC236}">
                  <a16:creationId xmlns:a16="http://schemas.microsoft.com/office/drawing/2014/main" id="{8345B4D4-DA77-1046-BF96-101762F72EE9}"/>
                </a:ext>
              </a:extLst>
            </p:cNvPr>
            <p:cNvSpPr/>
            <p:nvPr/>
          </p:nvSpPr>
          <p:spPr>
            <a:xfrm>
              <a:off x="16435528" y="2542744"/>
              <a:ext cx="162704" cy="106719"/>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5" name="object 20">
              <a:extLst>
                <a:ext uri="{FF2B5EF4-FFF2-40B4-BE49-F238E27FC236}">
                  <a16:creationId xmlns:a16="http://schemas.microsoft.com/office/drawing/2014/main" id="{69F2EF62-B4D1-7440-BEC7-0136BC379191}"/>
                </a:ext>
              </a:extLst>
            </p:cNvPr>
            <p:cNvSpPr/>
            <p:nvPr/>
          </p:nvSpPr>
          <p:spPr>
            <a:xfrm>
              <a:off x="16733088" y="2542749"/>
              <a:ext cx="81128" cy="106708"/>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6" name="object 21">
              <a:extLst>
                <a:ext uri="{FF2B5EF4-FFF2-40B4-BE49-F238E27FC236}">
                  <a16:creationId xmlns:a16="http://schemas.microsoft.com/office/drawing/2014/main" id="{909EF317-8C6B-B14D-A0A2-7DA6B3001CC9}"/>
                </a:ext>
              </a:extLst>
            </p:cNvPr>
            <p:cNvSpPr/>
            <p:nvPr/>
          </p:nvSpPr>
          <p:spPr>
            <a:xfrm>
              <a:off x="16842601" y="2494645"/>
              <a:ext cx="87442" cy="15480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7" name="object 22">
              <a:extLst>
                <a:ext uri="{FF2B5EF4-FFF2-40B4-BE49-F238E27FC236}">
                  <a16:creationId xmlns:a16="http://schemas.microsoft.com/office/drawing/2014/main" id="{75E8CB09-6577-8D47-8BD4-A59B3DDAFCE7}"/>
                </a:ext>
              </a:extLst>
            </p:cNvPr>
            <p:cNvSpPr/>
            <p:nvPr/>
          </p:nvSpPr>
          <p:spPr>
            <a:xfrm>
              <a:off x="17003059" y="2545373"/>
              <a:ext cx="94353" cy="152162"/>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8" name="object 23">
              <a:extLst>
                <a:ext uri="{FF2B5EF4-FFF2-40B4-BE49-F238E27FC236}">
                  <a16:creationId xmlns:a16="http://schemas.microsoft.com/office/drawing/2014/main" id="{CC550E6A-918F-184F-B3B0-819C05F536E6}"/>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637" b="0" i="0" dirty="0">
                <a:latin typeface="Tahoma Regular"/>
              </a:endParaRPr>
            </a:p>
          </p:txBody>
        </p:sp>
        <p:sp>
          <p:nvSpPr>
            <p:cNvPr id="29" name="object 24">
              <a:extLst>
                <a:ext uri="{FF2B5EF4-FFF2-40B4-BE49-F238E27FC236}">
                  <a16:creationId xmlns:a16="http://schemas.microsoft.com/office/drawing/2014/main" id="{92A529BD-BB5C-E448-8BE2-3CED29567242}"/>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637" b="0" i="0" dirty="0">
                <a:latin typeface="Tahoma Regular"/>
              </a:endParaRPr>
            </a:p>
          </p:txBody>
        </p:sp>
        <p:sp>
          <p:nvSpPr>
            <p:cNvPr id="30" name="object 25">
              <a:extLst>
                <a:ext uri="{FF2B5EF4-FFF2-40B4-BE49-F238E27FC236}">
                  <a16:creationId xmlns:a16="http://schemas.microsoft.com/office/drawing/2014/main" id="{0CBDD186-1165-8543-83F2-3CDD2EA0C4DE}"/>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637" b="0" i="0" dirty="0">
                <a:latin typeface="Tahoma Regular"/>
              </a:endParaRPr>
            </a:p>
          </p:txBody>
        </p:sp>
        <p:sp>
          <p:nvSpPr>
            <p:cNvPr id="31" name="object 26">
              <a:extLst>
                <a:ext uri="{FF2B5EF4-FFF2-40B4-BE49-F238E27FC236}">
                  <a16:creationId xmlns:a16="http://schemas.microsoft.com/office/drawing/2014/main" id="{16A8DDD6-2186-CE4D-8002-00A5E1C88E7A}"/>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637" b="0" i="0" dirty="0">
                <a:latin typeface="Tahoma Regular"/>
              </a:endParaRPr>
            </a:p>
          </p:txBody>
        </p:sp>
        <p:sp>
          <p:nvSpPr>
            <p:cNvPr id="32" name="object 27">
              <a:extLst>
                <a:ext uri="{FF2B5EF4-FFF2-40B4-BE49-F238E27FC236}">
                  <a16:creationId xmlns:a16="http://schemas.microsoft.com/office/drawing/2014/main" id="{BC635C2A-9778-BD49-8F33-237C75F007B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637" b="0" i="0" dirty="0">
                <a:latin typeface="Tahoma Regular"/>
              </a:endParaRPr>
            </a:p>
          </p:txBody>
        </p:sp>
        <p:sp>
          <p:nvSpPr>
            <p:cNvPr id="33" name="object 28">
              <a:extLst>
                <a:ext uri="{FF2B5EF4-FFF2-40B4-BE49-F238E27FC236}">
                  <a16:creationId xmlns:a16="http://schemas.microsoft.com/office/drawing/2014/main" id="{5B3A08FA-0503-5646-A0D3-AB66FC6D430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637" b="0" i="0" dirty="0">
                <a:latin typeface="Tahoma Regular"/>
              </a:endParaRPr>
            </a:p>
          </p:txBody>
        </p:sp>
        <p:sp>
          <p:nvSpPr>
            <p:cNvPr id="34" name="object 29">
              <a:extLst>
                <a:ext uri="{FF2B5EF4-FFF2-40B4-BE49-F238E27FC236}">
                  <a16:creationId xmlns:a16="http://schemas.microsoft.com/office/drawing/2014/main" id="{F65C85DF-78C3-F744-8EE8-11D6EE3F25C6}"/>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637" b="0" i="0" dirty="0">
                <a:latin typeface="Tahoma Regular"/>
              </a:endParaRPr>
            </a:p>
          </p:txBody>
        </p:sp>
        <p:sp>
          <p:nvSpPr>
            <p:cNvPr id="35" name="object 30">
              <a:extLst>
                <a:ext uri="{FF2B5EF4-FFF2-40B4-BE49-F238E27FC236}">
                  <a16:creationId xmlns:a16="http://schemas.microsoft.com/office/drawing/2014/main" id="{77F7442E-53C4-9D45-A05C-C62843C79C6F}"/>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637" b="0" i="0" dirty="0">
                <a:latin typeface="Tahoma Regular"/>
              </a:endParaRPr>
            </a:p>
          </p:txBody>
        </p:sp>
      </p:gr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67760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DF8E8968-CF5B-604F-927F-923A91A931A9}"/>
              </a:ext>
            </a:extLst>
          </p:cNvPr>
          <p:cNvSpPr/>
          <p:nvPr userDrawn="1"/>
        </p:nvSpPr>
        <p:spPr>
          <a:xfrm>
            <a:off x="1" y="1"/>
            <a:ext cx="12192000" cy="6857615"/>
          </a:xfrm>
          <a:custGeom>
            <a:avLst/>
            <a:gdLst/>
            <a:ahLst/>
            <a:cxnLst/>
            <a:rect l="l" t="t" r="r" b="b"/>
            <a:pathLst>
              <a:path w="20104100" h="11308715">
                <a:moveTo>
                  <a:pt x="20104099" y="11308556"/>
                </a:moveTo>
                <a:lnTo>
                  <a:pt x="0" y="11308556"/>
                </a:lnTo>
                <a:lnTo>
                  <a:pt x="0" y="0"/>
                </a:lnTo>
                <a:lnTo>
                  <a:pt x="20104099" y="0"/>
                </a:lnTo>
                <a:lnTo>
                  <a:pt x="20104099" y="11308556"/>
                </a:lnTo>
                <a:close/>
              </a:path>
            </a:pathLst>
          </a:custGeom>
          <a:ln w="41883">
            <a:solidFill>
              <a:srgbClr val="E63023"/>
            </a:solidFill>
          </a:ln>
        </p:spPr>
        <p:txBody>
          <a:bodyPr wrap="square" lIns="0" tIns="0" rIns="0" bIns="0" rtlCol="0"/>
          <a:lstStyle/>
          <a:p>
            <a:endParaRPr sz="637" b="0" i="0" dirty="0">
              <a:latin typeface="Tahoma Regular"/>
            </a:endParaRPr>
          </a:p>
        </p:txBody>
      </p:sp>
      <p:pic>
        <p:nvPicPr>
          <p:cNvPr id="9" name="Picture 8">
            <a:extLst>
              <a:ext uri="{FF2B5EF4-FFF2-40B4-BE49-F238E27FC236}">
                <a16:creationId xmlns:a16="http://schemas.microsoft.com/office/drawing/2014/main" id="{3084F310-B4AD-5D44-BEF7-4C91BCBB7B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0" name="object 11">
            <a:extLst>
              <a:ext uri="{FF2B5EF4-FFF2-40B4-BE49-F238E27FC236}">
                <a16:creationId xmlns:a16="http://schemas.microsoft.com/office/drawing/2014/main" id="{15CDD9D3-0E64-C244-A7E0-FEB1389F23EE}"/>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5" name="Text Placeholder 14">
            <a:extLst>
              <a:ext uri="{FF2B5EF4-FFF2-40B4-BE49-F238E27FC236}">
                <a16:creationId xmlns:a16="http://schemas.microsoft.com/office/drawing/2014/main" id="{24A98F71-6812-6048-AE98-5BC31C8E355A}"/>
              </a:ext>
            </a:extLst>
          </p:cNvPr>
          <p:cNvSpPr>
            <a:spLocks noGrp="1"/>
          </p:cNvSpPr>
          <p:nvPr>
            <p:ph type="body" sz="quarter" idx="11" hasCustomPrompt="1"/>
          </p:nvPr>
        </p:nvSpPr>
        <p:spPr>
          <a:xfrm>
            <a:off x="1484576" y="4113726"/>
            <a:ext cx="7096346"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600" b="1" kern="0" spc="10" dirty="0"/>
              <a:t>COVER TITLE </a:t>
            </a:r>
            <a:r>
              <a:rPr lang="en-ZA" sz="3600" b="1" kern="0" spc="15" dirty="0"/>
              <a:t>GOES </a:t>
            </a:r>
            <a:r>
              <a:rPr lang="en-ZA" sz="3600" b="1" kern="0" spc="10" dirty="0"/>
              <a:t>HERE </a:t>
            </a:r>
            <a:r>
              <a:rPr lang="en-ZA" sz="3600" b="1" kern="0" spc="15" dirty="0"/>
              <a:t>ON TWO </a:t>
            </a:r>
            <a:r>
              <a:rPr lang="en-ZA" sz="3600" b="1" kern="0" spc="10" dirty="0"/>
              <a:t>LINES </a:t>
            </a:r>
            <a:r>
              <a:rPr lang="en-ZA" sz="3600" b="1" kern="0" spc="5" dirty="0"/>
              <a:t>IF</a:t>
            </a:r>
            <a:r>
              <a:rPr lang="en-ZA" sz="3600" b="1" kern="0" spc="-260" dirty="0"/>
              <a:t> </a:t>
            </a:r>
            <a:r>
              <a:rPr lang="en-ZA" sz="3600" b="1" kern="0" spc="-25" dirty="0"/>
              <a:t>NECESSARY</a:t>
            </a:r>
            <a:endParaRPr lang="en-ZA" sz="3600" b="1" kern="0" dirty="0"/>
          </a:p>
        </p:txBody>
      </p:sp>
      <p:sp>
        <p:nvSpPr>
          <p:cNvPr id="17" name="Text Placeholder 16">
            <a:extLst>
              <a:ext uri="{FF2B5EF4-FFF2-40B4-BE49-F238E27FC236}">
                <a16:creationId xmlns:a16="http://schemas.microsoft.com/office/drawing/2014/main" id="{3160532D-FAF0-F947-B3C7-16329EF4DE7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0026849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F9668B-79E7-0D4F-9005-020048500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9" name="object 11">
            <a:extLst>
              <a:ext uri="{FF2B5EF4-FFF2-40B4-BE49-F238E27FC236}">
                <a16:creationId xmlns:a16="http://schemas.microsoft.com/office/drawing/2014/main" id="{51C1E120-73D3-F54F-A4FF-45B281C99B5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2" name="Text Placeholder 14">
            <a:extLst>
              <a:ext uri="{FF2B5EF4-FFF2-40B4-BE49-F238E27FC236}">
                <a16:creationId xmlns:a16="http://schemas.microsoft.com/office/drawing/2014/main" id="{8B1908B7-F9B1-3544-9013-7B356269A82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3" name="Text Placeholder 16">
            <a:extLst>
              <a:ext uri="{FF2B5EF4-FFF2-40B4-BE49-F238E27FC236}">
                <a16:creationId xmlns:a16="http://schemas.microsoft.com/office/drawing/2014/main" id="{759545F2-4665-B041-B591-186383A0FD46}"/>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138436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9E674D-CCDE-664E-B7E1-6EDFB0E31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1" name="object 11">
            <a:extLst>
              <a:ext uri="{FF2B5EF4-FFF2-40B4-BE49-F238E27FC236}">
                <a16:creationId xmlns:a16="http://schemas.microsoft.com/office/drawing/2014/main" id="{E90EF58E-9D3B-454C-9B65-D7E07EDA99D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4" name="Text Placeholder 14">
            <a:extLst>
              <a:ext uri="{FF2B5EF4-FFF2-40B4-BE49-F238E27FC236}">
                <a16:creationId xmlns:a16="http://schemas.microsoft.com/office/drawing/2014/main" id="{15701DDF-9C44-2A4B-8206-1D538DE5975C}"/>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5" name="Text Placeholder 16">
            <a:extLst>
              <a:ext uri="{FF2B5EF4-FFF2-40B4-BE49-F238E27FC236}">
                <a16:creationId xmlns:a16="http://schemas.microsoft.com/office/drawing/2014/main" id="{E2BAA37B-DBFE-AC46-B1AB-651D09F1782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39094105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4.png"/><Relationship Id="rId2" Type="http://schemas.openxmlformats.org/officeDocument/2006/relationships/slideLayout" Target="../slideLayouts/slideLayout15.xml"/><Relationship Id="rId16" Type="http://schemas.openxmlformats.org/officeDocument/2006/relationships/image" Target="../media/image23.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2">
              <a:lumMod val="60000"/>
              <a:lumOff val="40000"/>
            </a:schemeClr>
          </a:fgClr>
          <a:bgClr>
            <a:schemeClr val="bg1"/>
          </a:bgClr>
        </a:patt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0E2D359-BEA0-F442-A837-63BC5340A44D}"/>
              </a:ext>
            </a:extLst>
          </p:cNvPr>
          <p:cNvGrpSpPr/>
          <p:nvPr userDrawn="1"/>
        </p:nvGrpSpPr>
        <p:grpSpPr>
          <a:xfrm>
            <a:off x="10769718" y="529563"/>
            <a:ext cx="997046" cy="677975"/>
            <a:chOff x="17758816" y="873287"/>
            <a:chExt cx="1644088" cy="1118031"/>
          </a:xfrm>
        </p:grpSpPr>
        <p:sp>
          <p:nvSpPr>
            <p:cNvPr id="8" name="object 11">
              <a:extLst>
                <a:ext uri="{FF2B5EF4-FFF2-40B4-BE49-F238E27FC236}">
                  <a16:creationId xmlns:a16="http://schemas.microsoft.com/office/drawing/2014/main" id="{716F8D6E-3447-A047-9302-308A2454F055}"/>
                </a:ext>
              </a:extLst>
            </p:cNvPr>
            <p:cNvSpPr/>
            <p:nvPr/>
          </p:nvSpPr>
          <p:spPr>
            <a:xfrm>
              <a:off x="17758816" y="1269964"/>
              <a:ext cx="437515" cy="252729"/>
            </a:xfrm>
            <a:custGeom>
              <a:avLst/>
              <a:gdLst/>
              <a:ahLst/>
              <a:cxnLst/>
              <a:rect l="l" t="t" r="r" b="b"/>
              <a:pathLst>
                <a:path w="437515" h="252730">
                  <a:moveTo>
                    <a:pt x="437211" y="0"/>
                  </a:moveTo>
                  <a:lnTo>
                    <a:pt x="0" y="20"/>
                  </a:lnTo>
                  <a:lnTo>
                    <a:pt x="145754" y="252442"/>
                  </a:lnTo>
                  <a:lnTo>
                    <a:pt x="291478" y="252442"/>
                  </a:lnTo>
                  <a:lnTo>
                    <a:pt x="437211" y="0"/>
                  </a:lnTo>
                  <a:close/>
                </a:path>
              </a:pathLst>
            </a:custGeom>
            <a:solidFill>
              <a:srgbClr val="89C43E"/>
            </a:solidFill>
          </p:spPr>
          <p:txBody>
            <a:bodyPr wrap="square" lIns="0" tIns="0" rIns="0" bIns="0" rtlCol="0"/>
            <a:lstStyle/>
            <a:p>
              <a:endParaRPr sz="637" b="0" i="0" dirty="0">
                <a:latin typeface="Tahoma Regular"/>
              </a:endParaRPr>
            </a:p>
          </p:txBody>
        </p:sp>
        <p:sp>
          <p:nvSpPr>
            <p:cNvPr id="9" name="object 12">
              <a:extLst>
                <a:ext uri="{FF2B5EF4-FFF2-40B4-BE49-F238E27FC236}">
                  <a16:creationId xmlns:a16="http://schemas.microsoft.com/office/drawing/2014/main" id="{FAF4FE9E-3237-9A4D-9764-7BB720FCD4A7}"/>
                </a:ext>
              </a:extLst>
            </p:cNvPr>
            <p:cNvSpPr/>
            <p:nvPr/>
          </p:nvSpPr>
          <p:spPr>
            <a:xfrm>
              <a:off x="18029369" y="1269958"/>
              <a:ext cx="833119" cy="721360"/>
            </a:xfrm>
            <a:custGeom>
              <a:avLst/>
              <a:gdLst/>
              <a:ahLst/>
              <a:cxnLst/>
              <a:rect l="l" t="t" r="r" b="b"/>
              <a:pathLst>
                <a:path w="833119" h="721360">
                  <a:moveTo>
                    <a:pt x="687193" y="0"/>
                  </a:moveTo>
                  <a:lnTo>
                    <a:pt x="270777" y="20"/>
                  </a:lnTo>
                  <a:lnTo>
                    <a:pt x="0" y="468676"/>
                  </a:lnTo>
                  <a:lnTo>
                    <a:pt x="145859" y="721255"/>
                  </a:lnTo>
                  <a:lnTo>
                    <a:pt x="416510" y="252442"/>
                  </a:lnTo>
                  <a:lnTo>
                    <a:pt x="833032" y="252442"/>
                  </a:lnTo>
                  <a:lnTo>
                    <a:pt x="687193" y="0"/>
                  </a:lnTo>
                  <a:close/>
                </a:path>
              </a:pathLst>
            </a:custGeom>
            <a:solidFill>
              <a:srgbClr val="EB2F23"/>
            </a:solidFill>
          </p:spPr>
          <p:txBody>
            <a:bodyPr wrap="square" lIns="0" tIns="0" rIns="0" bIns="0" rtlCol="0"/>
            <a:lstStyle/>
            <a:p>
              <a:endParaRPr sz="637" b="0" i="0" dirty="0">
                <a:latin typeface="Tahoma Regular"/>
              </a:endParaRPr>
            </a:p>
          </p:txBody>
        </p:sp>
        <p:sp>
          <p:nvSpPr>
            <p:cNvPr id="10" name="object 13">
              <a:extLst>
                <a:ext uri="{FF2B5EF4-FFF2-40B4-BE49-F238E27FC236}">
                  <a16:creationId xmlns:a16="http://schemas.microsoft.com/office/drawing/2014/main" id="{1439A294-39FE-8A42-82EE-DD4A5519E18C}"/>
                </a:ext>
              </a:extLst>
            </p:cNvPr>
            <p:cNvSpPr/>
            <p:nvPr/>
          </p:nvSpPr>
          <p:spPr>
            <a:xfrm>
              <a:off x="18122744" y="873287"/>
              <a:ext cx="1280160" cy="144780"/>
            </a:xfrm>
            <a:custGeom>
              <a:avLst/>
              <a:gdLst/>
              <a:ahLst/>
              <a:cxnLst/>
              <a:rect l="l" t="t" r="r" b="b"/>
              <a:pathLst>
                <a:path w="1280159" h="144780">
                  <a:moveTo>
                    <a:pt x="234558" y="0"/>
                  </a:moveTo>
                  <a:lnTo>
                    <a:pt x="148937" y="0"/>
                  </a:lnTo>
                  <a:lnTo>
                    <a:pt x="148937" y="144236"/>
                  </a:lnTo>
                  <a:lnTo>
                    <a:pt x="185010" y="144236"/>
                  </a:lnTo>
                  <a:lnTo>
                    <a:pt x="185010" y="87913"/>
                  </a:lnTo>
                  <a:lnTo>
                    <a:pt x="260691" y="87913"/>
                  </a:lnTo>
                  <a:lnTo>
                    <a:pt x="256819" y="81201"/>
                  </a:lnTo>
                  <a:lnTo>
                    <a:pt x="264346" y="74841"/>
                  </a:lnTo>
                  <a:lnTo>
                    <a:pt x="270134" y="66848"/>
                  </a:lnTo>
                  <a:lnTo>
                    <a:pt x="273851" y="57547"/>
                  </a:lnTo>
                  <a:lnTo>
                    <a:pt x="274005" y="56343"/>
                  </a:lnTo>
                  <a:lnTo>
                    <a:pt x="185010" y="56343"/>
                  </a:lnTo>
                  <a:lnTo>
                    <a:pt x="185010" y="31559"/>
                  </a:lnTo>
                  <a:lnTo>
                    <a:pt x="273278" y="31559"/>
                  </a:lnTo>
                  <a:lnTo>
                    <a:pt x="271922" y="24812"/>
                  </a:lnTo>
                  <a:lnTo>
                    <a:pt x="263244" y="11898"/>
                  </a:lnTo>
                  <a:lnTo>
                    <a:pt x="250359" y="3192"/>
                  </a:lnTo>
                  <a:lnTo>
                    <a:pt x="234558" y="0"/>
                  </a:lnTo>
                  <a:close/>
                </a:path>
                <a:path w="1280159" h="144780">
                  <a:moveTo>
                    <a:pt x="260691" y="87913"/>
                  </a:moveTo>
                  <a:lnTo>
                    <a:pt x="224087" y="87913"/>
                  </a:lnTo>
                  <a:lnTo>
                    <a:pt x="256609" y="144236"/>
                  </a:lnTo>
                  <a:lnTo>
                    <a:pt x="293184" y="144236"/>
                  </a:lnTo>
                  <a:lnTo>
                    <a:pt x="260691" y="87913"/>
                  </a:lnTo>
                  <a:close/>
                </a:path>
                <a:path w="1280159" h="144780">
                  <a:moveTo>
                    <a:pt x="404678" y="0"/>
                  </a:moveTo>
                  <a:lnTo>
                    <a:pt x="366302" y="0"/>
                  </a:lnTo>
                  <a:lnTo>
                    <a:pt x="293184" y="144236"/>
                  </a:lnTo>
                  <a:lnTo>
                    <a:pt x="331560" y="144236"/>
                  </a:lnTo>
                  <a:lnTo>
                    <a:pt x="349821" y="108185"/>
                  </a:lnTo>
                  <a:lnTo>
                    <a:pt x="459513" y="108185"/>
                  </a:lnTo>
                  <a:lnTo>
                    <a:pt x="443506" y="76604"/>
                  </a:lnTo>
                  <a:lnTo>
                    <a:pt x="365821" y="76604"/>
                  </a:lnTo>
                  <a:lnTo>
                    <a:pt x="385485" y="37810"/>
                  </a:lnTo>
                  <a:lnTo>
                    <a:pt x="423843" y="37810"/>
                  </a:lnTo>
                  <a:lnTo>
                    <a:pt x="404678" y="0"/>
                  </a:lnTo>
                  <a:close/>
                </a:path>
                <a:path w="1280159" h="144780">
                  <a:moveTo>
                    <a:pt x="459513" y="108185"/>
                  </a:moveTo>
                  <a:lnTo>
                    <a:pt x="421149" y="108185"/>
                  </a:lnTo>
                  <a:lnTo>
                    <a:pt x="439421" y="144236"/>
                  </a:lnTo>
                  <a:lnTo>
                    <a:pt x="477786" y="144236"/>
                  </a:lnTo>
                  <a:lnTo>
                    <a:pt x="459513" y="108185"/>
                  </a:lnTo>
                  <a:close/>
                </a:path>
                <a:path w="1280159" h="144780">
                  <a:moveTo>
                    <a:pt x="423843" y="37810"/>
                  </a:moveTo>
                  <a:lnTo>
                    <a:pt x="385485" y="37810"/>
                  </a:lnTo>
                  <a:lnTo>
                    <a:pt x="405149" y="76604"/>
                  </a:lnTo>
                  <a:lnTo>
                    <a:pt x="443506" y="76604"/>
                  </a:lnTo>
                  <a:lnTo>
                    <a:pt x="423843" y="37810"/>
                  </a:lnTo>
                  <a:close/>
                </a:path>
                <a:path w="1280159" h="144780">
                  <a:moveTo>
                    <a:pt x="273278" y="31559"/>
                  </a:moveTo>
                  <a:lnTo>
                    <a:pt x="235039" y="31559"/>
                  </a:lnTo>
                  <a:lnTo>
                    <a:pt x="239102" y="35632"/>
                  </a:lnTo>
                  <a:lnTo>
                    <a:pt x="239175" y="52281"/>
                  </a:lnTo>
                  <a:lnTo>
                    <a:pt x="235102" y="56343"/>
                  </a:lnTo>
                  <a:lnTo>
                    <a:pt x="274005" y="56343"/>
                  </a:lnTo>
                  <a:lnTo>
                    <a:pt x="275164" y="47265"/>
                  </a:lnTo>
                  <a:lnTo>
                    <a:pt x="275101" y="40627"/>
                  </a:lnTo>
                  <a:lnTo>
                    <a:pt x="273278" y="31559"/>
                  </a:lnTo>
                  <a:close/>
                </a:path>
                <a:path w="1280159" h="144780">
                  <a:moveTo>
                    <a:pt x="1131410" y="0"/>
                  </a:moveTo>
                  <a:lnTo>
                    <a:pt x="1014230" y="0"/>
                  </a:lnTo>
                  <a:lnTo>
                    <a:pt x="1014230" y="144236"/>
                  </a:lnTo>
                  <a:lnTo>
                    <a:pt x="1131410" y="144236"/>
                  </a:lnTo>
                  <a:lnTo>
                    <a:pt x="1131410" y="112666"/>
                  </a:lnTo>
                  <a:lnTo>
                    <a:pt x="1050261" y="112666"/>
                  </a:lnTo>
                  <a:lnTo>
                    <a:pt x="1050261" y="87892"/>
                  </a:lnTo>
                  <a:lnTo>
                    <a:pt x="1126918" y="87892"/>
                  </a:lnTo>
                  <a:lnTo>
                    <a:pt x="1126918" y="56322"/>
                  </a:lnTo>
                  <a:lnTo>
                    <a:pt x="1050261" y="56322"/>
                  </a:lnTo>
                  <a:lnTo>
                    <a:pt x="1050261" y="31538"/>
                  </a:lnTo>
                  <a:lnTo>
                    <a:pt x="1131410" y="31538"/>
                  </a:lnTo>
                  <a:lnTo>
                    <a:pt x="1131410" y="0"/>
                  </a:lnTo>
                  <a:close/>
                </a:path>
                <a:path w="1280159" h="144780">
                  <a:moveTo>
                    <a:pt x="682942" y="107588"/>
                  </a:moveTo>
                  <a:lnTo>
                    <a:pt x="667131" y="134948"/>
                  </a:lnTo>
                  <a:lnTo>
                    <a:pt x="676632" y="138756"/>
                  </a:lnTo>
                  <a:lnTo>
                    <a:pt x="686575" y="141580"/>
                  </a:lnTo>
                  <a:lnTo>
                    <a:pt x="696919" y="143343"/>
                  </a:lnTo>
                  <a:lnTo>
                    <a:pt x="707622" y="143964"/>
                  </a:lnTo>
                  <a:lnTo>
                    <a:pt x="761620" y="143943"/>
                  </a:lnTo>
                  <a:lnTo>
                    <a:pt x="777399" y="140756"/>
                  </a:lnTo>
                  <a:lnTo>
                    <a:pt x="790263" y="132065"/>
                  </a:lnTo>
                  <a:lnTo>
                    <a:pt x="798927" y="119174"/>
                  </a:lnTo>
                  <a:lnTo>
                    <a:pt x="800280" y="112446"/>
                  </a:lnTo>
                  <a:lnTo>
                    <a:pt x="698889" y="112446"/>
                  </a:lnTo>
                  <a:lnTo>
                    <a:pt x="690533" y="110708"/>
                  </a:lnTo>
                  <a:lnTo>
                    <a:pt x="682942" y="107588"/>
                  </a:lnTo>
                  <a:close/>
                </a:path>
                <a:path w="1280159" h="144780">
                  <a:moveTo>
                    <a:pt x="769348" y="0"/>
                  </a:moveTo>
                  <a:lnTo>
                    <a:pt x="707622" y="0"/>
                  </a:lnTo>
                  <a:lnTo>
                    <a:pt x="691838" y="3185"/>
                  </a:lnTo>
                  <a:lnTo>
                    <a:pt x="678970" y="11873"/>
                  </a:lnTo>
                  <a:lnTo>
                    <a:pt x="670305" y="24763"/>
                  </a:lnTo>
                  <a:lnTo>
                    <a:pt x="667131" y="40553"/>
                  </a:lnTo>
                  <a:lnTo>
                    <a:pt x="667131" y="47150"/>
                  </a:lnTo>
                  <a:lnTo>
                    <a:pt x="670305" y="62943"/>
                  </a:lnTo>
                  <a:lnTo>
                    <a:pt x="678970" y="75840"/>
                  </a:lnTo>
                  <a:lnTo>
                    <a:pt x="691838" y="84536"/>
                  </a:lnTo>
                  <a:lnTo>
                    <a:pt x="707622" y="87725"/>
                  </a:lnTo>
                  <a:lnTo>
                    <a:pt x="762112" y="87725"/>
                  </a:lnTo>
                  <a:lnTo>
                    <a:pt x="766165" y="91766"/>
                  </a:lnTo>
                  <a:lnTo>
                    <a:pt x="766165" y="108384"/>
                  </a:lnTo>
                  <a:lnTo>
                    <a:pt x="762112" y="112446"/>
                  </a:lnTo>
                  <a:lnTo>
                    <a:pt x="800280" y="112446"/>
                  </a:lnTo>
                  <a:lnTo>
                    <a:pt x="802101" y="103389"/>
                  </a:lnTo>
                  <a:lnTo>
                    <a:pt x="802101" y="96782"/>
                  </a:lnTo>
                  <a:lnTo>
                    <a:pt x="798927" y="80998"/>
                  </a:lnTo>
                  <a:lnTo>
                    <a:pt x="790263" y="68111"/>
                  </a:lnTo>
                  <a:lnTo>
                    <a:pt x="777399" y="59424"/>
                  </a:lnTo>
                  <a:lnTo>
                    <a:pt x="761620" y="56239"/>
                  </a:lnTo>
                  <a:lnTo>
                    <a:pt x="707119" y="56239"/>
                  </a:lnTo>
                  <a:lnTo>
                    <a:pt x="703046" y="52176"/>
                  </a:lnTo>
                  <a:lnTo>
                    <a:pt x="703046" y="35548"/>
                  </a:lnTo>
                  <a:lnTo>
                    <a:pt x="707119" y="31485"/>
                  </a:lnTo>
                  <a:lnTo>
                    <a:pt x="784080" y="31485"/>
                  </a:lnTo>
                  <a:lnTo>
                    <a:pt x="784080" y="2219"/>
                  </a:lnTo>
                  <a:lnTo>
                    <a:pt x="777369" y="732"/>
                  </a:lnTo>
                  <a:lnTo>
                    <a:pt x="769348" y="0"/>
                  </a:lnTo>
                  <a:close/>
                </a:path>
                <a:path w="1280159" h="144780">
                  <a:moveTo>
                    <a:pt x="784080" y="31485"/>
                  </a:moveTo>
                  <a:lnTo>
                    <a:pt x="766102" y="31485"/>
                  </a:lnTo>
                  <a:lnTo>
                    <a:pt x="781044" y="32533"/>
                  </a:lnTo>
                  <a:lnTo>
                    <a:pt x="784080" y="33726"/>
                  </a:lnTo>
                  <a:lnTo>
                    <a:pt x="784080" y="31485"/>
                  </a:lnTo>
                  <a:close/>
                </a:path>
                <a:path w="1280159" h="144780">
                  <a:moveTo>
                    <a:pt x="1171995" y="0"/>
                  </a:moveTo>
                  <a:lnTo>
                    <a:pt x="1171995" y="144236"/>
                  </a:lnTo>
                  <a:lnTo>
                    <a:pt x="1208067" y="144236"/>
                  </a:lnTo>
                  <a:lnTo>
                    <a:pt x="1208067" y="31559"/>
                  </a:lnTo>
                  <a:lnTo>
                    <a:pt x="1261741" y="31559"/>
                  </a:lnTo>
                  <a:lnTo>
                    <a:pt x="1279971" y="20"/>
                  </a:lnTo>
                  <a:lnTo>
                    <a:pt x="1171995" y="0"/>
                  </a:lnTo>
                  <a:close/>
                </a:path>
                <a:path w="1280159" h="144780">
                  <a:moveTo>
                    <a:pt x="869994" y="0"/>
                  </a:moveTo>
                  <a:lnTo>
                    <a:pt x="829419" y="0"/>
                  </a:lnTo>
                  <a:lnTo>
                    <a:pt x="829419" y="144236"/>
                  </a:lnTo>
                  <a:lnTo>
                    <a:pt x="865460" y="144236"/>
                  </a:lnTo>
                  <a:lnTo>
                    <a:pt x="865460" y="49747"/>
                  </a:lnTo>
                  <a:lnTo>
                    <a:pt x="905595" y="49747"/>
                  </a:lnTo>
                  <a:lnTo>
                    <a:pt x="869994" y="0"/>
                  </a:lnTo>
                  <a:close/>
                </a:path>
                <a:path w="1280159" h="144780">
                  <a:moveTo>
                    <a:pt x="905595" y="49747"/>
                  </a:moveTo>
                  <a:lnTo>
                    <a:pt x="865460" y="49747"/>
                  </a:lnTo>
                  <a:lnTo>
                    <a:pt x="933081" y="144236"/>
                  </a:lnTo>
                  <a:lnTo>
                    <a:pt x="973656" y="144236"/>
                  </a:lnTo>
                  <a:lnTo>
                    <a:pt x="973656" y="94489"/>
                  </a:lnTo>
                  <a:lnTo>
                    <a:pt x="937615" y="94489"/>
                  </a:lnTo>
                  <a:lnTo>
                    <a:pt x="905595" y="49747"/>
                  </a:lnTo>
                  <a:close/>
                </a:path>
                <a:path w="1280159" h="144780">
                  <a:moveTo>
                    <a:pt x="973656" y="125"/>
                  </a:moveTo>
                  <a:lnTo>
                    <a:pt x="937615" y="125"/>
                  </a:lnTo>
                  <a:lnTo>
                    <a:pt x="937615" y="94489"/>
                  </a:lnTo>
                  <a:lnTo>
                    <a:pt x="973656" y="94489"/>
                  </a:lnTo>
                  <a:lnTo>
                    <a:pt x="973656" y="125"/>
                  </a:lnTo>
                  <a:close/>
                </a:path>
                <a:path w="1280159" h="144780">
                  <a:moveTo>
                    <a:pt x="108363" y="31559"/>
                  </a:moveTo>
                  <a:lnTo>
                    <a:pt x="72290" y="31559"/>
                  </a:lnTo>
                  <a:lnTo>
                    <a:pt x="72290" y="144236"/>
                  </a:lnTo>
                  <a:lnTo>
                    <a:pt x="108363" y="144236"/>
                  </a:lnTo>
                  <a:lnTo>
                    <a:pt x="108363" y="31559"/>
                  </a:lnTo>
                  <a:close/>
                </a:path>
                <a:path w="1280159" h="144780">
                  <a:moveTo>
                    <a:pt x="108363" y="0"/>
                  </a:moveTo>
                  <a:lnTo>
                    <a:pt x="0" y="20"/>
                  </a:lnTo>
                  <a:lnTo>
                    <a:pt x="18219" y="31569"/>
                  </a:lnTo>
                  <a:lnTo>
                    <a:pt x="108363" y="31559"/>
                  </a:lnTo>
                  <a:lnTo>
                    <a:pt x="108363" y="0"/>
                  </a:lnTo>
                  <a:close/>
                </a:path>
                <a:path w="1280159" h="144780">
                  <a:moveTo>
                    <a:pt x="531879" y="0"/>
                  </a:moveTo>
                  <a:lnTo>
                    <a:pt x="491314" y="0"/>
                  </a:lnTo>
                  <a:lnTo>
                    <a:pt x="491314" y="144236"/>
                  </a:lnTo>
                  <a:lnTo>
                    <a:pt x="527355" y="144236"/>
                  </a:lnTo>
                  <a:lnTo>
                    <a:pt x="527355" y="49747"/>
                  </a:lnTo>
                  <a:lnTo>
                    <a:pt x="567486" y="49747"/>
                  </a:lnTo>
                  <a:lnTo>
                    <a:pt x="531879" y="0"/>
                  </a:lnTo>
                  <a:close/>
                </a:path>
                <a:path w="1280159" h="144780">
                  <a:moveTo>
                    <a:pt x="567486" y="49747"/>
                  </a:moveTo>
                  <a:lnTo>
                    <a:pt x="527355" y="49747"/>
                  </a:lnTo>
                  <a:lnTo>
                    <a:pt x="594987" y="144236"/>
                  </a:lnTo>
                  <a:lnTo>
                    <a:pt x="635561" y="144236"/>
                  </a:lnTo>
                  <a:lnTo>
                    <a:pt x="635561" y="94489"/>
                  </a:lnTo>
                  <a:lnTo>
                    <a:pt x="599510" y="94489"/>
                  </a:lnTo>
                  <a:lnTo>
                    <a:pt x="567486" y="49747"/>
                  </a:lnTo>
                  <a:close/>
                </a:path>
                <a:path w="1280159" h="144780">
                  <a:moveTo>
                    <a:pt x="635561" y="125"/>
                  </a:moveTo>
                  <a:lnTo>
                    <a:pt x="599510" y="125"/>
                  </a:lnTo>
                  <a:lnTo>
                    <a:pt x="599510" y="94489"/>
                  </a:lnTo>
                  <a:lnTo>
                    <a:pt x="635561" y="94489"/>
                  </a:lnTo>
                  <a:lnTo>
                    <a:pt x="635561" y="125"/>
                  </a:lnTo>
                  <a:close/>
                </a:path>
              </a:pathLst>
            </a:custGeom>
            <a:solidFill>
              <a:srgbClr val="EB2F23"/>
            </a:solidFill>
          </p:spPr>
          <p:txBody>
            <a:bodyPr wrap="square" lIns="0" tIns="0" rIns="0" bIns="0" rtlCol="0"/>
            <a:lstStyle/>
            <a:p>
              <a:endParaRPr sz="637" b="0" i="0" dirty="0">
                <a:latin typeface="Tahoma Regular"/>
              </a:endParaRPr>
            </a:p>
          </p:txBody>
        </p:sp>
      </p:grpSp>
      <p:sp>
        <p:nvSpPr>
          <p:cNvPr id="11" name="object 11">
            <a:extLst>
              <a:ext uri="{FF2B5EF4-FFF2-40B4-BE49-F238E27FC236}">
                <a16:creationId xmlns:a16="http://schemas.microsoft.com/office/drawing/2014/main" id="{B1928782-0C78-CB41-8FE1-3353387FA322}"/>
              </a:ext>
            </a:extLst>
          </p:cNvPr>
          <p:cNvSpPr/>
          <p:nvPr userDrawn="1"/>
        </p:nvSpPr>
        <p:spPr>
          <a:xfrm>
            <a:off x="635836" y="6136761"/>
            <a:ext cx="170596"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
        <p:nvSpPr>
          <p:cNvPr id="12" name="object 6">
            <a:extLst>
              <a:ext uri="{FF2B5EF4-FFF2-40B4-BE49-F238E27FC236}">
                <a16:creationId xmlns:a16="http://schemas.microsoft.com/office/drawing/2014/main" id="{CB7950BA-981A-DF44-A589-418E95F75F8B}"/>
              </a:ext>
            </a:extLst>
          </p:cNvPr>
          <p:cNvSpPr/>
          <p:nvPr userDrawn="1"/>
        </p:nvSpPr>
        <p:spPr>
          <a:xfrm>
            <a:off x="628654" y="1514047"/>
            <a:ext cx="11055595" cy="0"/>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32688619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2">
              <a:lumMod val="60000"/>
              <a:lumOff val="40000"/>
            </a:schemeClr>
          </a:fgClr>
          <a:bgClr>
            <a:schemeClr val="bg1"/>
          </a:bgClr>
        </a:patt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0E2D359-BEA0-F442-A837-63BC5340A44D}"/>
              </a:ext>
            </a:extLst>
          </p:cNvPr>
          <p:cNvGrpSpPr/>
          <p:nvPr userDrawn="1"/>
        </p:nvGrpSpPr>
        <p:grpSpPr>
          <a:xfrm>
            <a:off x="10769718" y="529563"/>
            <a:ext cx="997046" cy="677975"/>
            <a:chOff x="17758816" y="873287"/>
            <a:chExt cx="1644088" cy="1118031"/>
          </a:xfrm>
        </p:grpSpPr>
        <p:sp>
          <p:nvSpPr>
            <p:cNvPr id="8" name="object 11">
              <a:extLst>
                <a:ext uri="{FF2B5EF4-FFF2-40B4-BE49-F238E27FC236}">
                  <a16:creationId xmlns:a16="http://schemas.microsoft.com/office/drawing/2014/main" id="{716F8D6E-3447-A047-9302-308A2454F055}"/>
                </a:ext>
              </a:extLst>
            </p:cNvPr>
            <p:cNvSpPr/>
            <p:nvPr/>
          </p:nvSpPr>
          <p:spPr>
            <a:xfrm>
              <a:off x="17758816" y="1269964"/>
              <a:ext cx="437515" cy="252729"/>
            </a:xfrm>
            <a:custGeom>
              <a:avLst/>
              <a:gdLst/>
              <a:ahLst/>
              <a:cxnLst/>
              <a:rect l="l" t="t" r="r" b="b"/>
              <a:pathLst>
                <a:path w="437515" h="252730">
                  <a:moveTo>
                    <a:pt x="437211" y="0"/>
                  </a:moveTo>
                  <a:lnTo>
                    <a:pt x="0" y="20"/>
                  </a:lnTo>
                  <a:lnTo>
                    <a:pt x="145754" y="252442"/>
                  </a:lnTo>
                  <a:lnTo>
                    <a:pt x="291478" y="252442"/>
                  </a:lnTo>
                  <a:lnTo>
                    <a:pt x="437211" y="0"/>
                  </a:lnTo>
                  <a:close/>
                </a:path>
              </a:pathLst>
            </a:custGeom>
            <a:solidFill>
              <a:srgbClr val="89C43E"/>
            </a:solidFill>
          </p:spPr>
          <p:txBody>
            <a:bodyPr wrap="square" lIns="0" tIns="0" rIns="0" bIns="0" rtlCol="0"/>
            <a:lstStyle/>
            <a:p>
              <a:endParaRPr sz="637" b="0" i="0" dirty="0">
                <a:latin typeface="Tahoma Regular"/>
              </a:endParaRPr>
            </a:p>
          </p:txBody>
        </p:sp>
        <p:sp>
          <p:nvSpPr>
            <p:cNvPr id="9" name="object 12">
              <a:extLst>
                <a:ext uri="{FF2B5EF4-FFF2-40B4-BE49-F238E27FC236}">
                  <a16:creationId xmlns:a16="http://schemas.microsoft.com/office/drawing/2014/main" id="{FAF4FE9E-3237-9A4D-9764-7BB720FCD4A7}"/>
                </a:ext>
              </a:extLst>
            </p:cNvPr>
            <p:cNvSpPr/>
            <p:nvPr/>
          </p:nvSpPr>
          <p:spPr>
            <a:xfrm>
              <a:off x="18029369" y="1269958"/>
              <a:ext cx="833119" cy="721360"/>
            </a:xfrm>
            <a:custGeom>
              <a:avLst/>
              <a:gdLst/>
              <a:ahLst/>
              <a:cxnLst/>
              <a:rect l="l" t="t" r="r" b="b"/>
              <a:pathLst>
                <a:path w="833119" h="721360">
                  <a:moveTo>
                    <a:pt x="687193" y="0"/>
                  </a:moveTo>
                  <a:lnTo>
                    <a:pt x="270777" y="20"/>
                  </a:lnTo>
                  <a:lnTo>
                    <a:pt x="0" y="468676"/>
                  </a:lnTo>
                  <a:lnTo>
                    <a:pt x="145859" y="721255"/>
                  </a:lnTo>
                  <a:lnTo>
                    <a:pt x="416510" y="252442"/>
                  </a:lnTo>
                  <a:lnTo>
                    <a:pt x="833032" y="252442"/>
                  </a:lnTo>
                  <a:lnTo>
                    <a:pt x="687193" y="0"/>
                  </a:lnTo>
                  <a:close/>
                </a:path>
              </a:pathLst>
            </a:custGeom>
            <a:solidFill>
              <a:srgbClr val="EB2F23"/>
            </a:solidFill>
          </p:spPr>
          <p:txBody>
            <a:bodyPr wrap="square" lIns="0" tIns="0" rIns="0" bIns="0" rtlCol="0"/>
            <a:lstStyle/>
            <a:p>
              <a:endParaRPr sz="637" b="0" i="0" dirty="0">
                <a:latin typeface="Tahoma Regular"/>
              </a:endParaRPr>
            </a:p>
          </p:txBody>
        </p:sp>
        <p:sp>
          <p:nvSpPr>
            <p:cNvPr id="10" name="object 13">
              <a:extLst>
                <a:ext uri="{FF2B5EF4-FFF2-40B4-BE49-F238E27FC236}">
                  <a16:creationId xmlns:a16="http://schemas.microsoft.com/office/drawing/2014/main" id="{1439A294-39FE-8A42-82EE-DD4A5519E18C}"/>
                </a:ext>
              </a:extLst>
            </p:cNvPr>
            <p:cNvSpPr/>
            <p:nvPr/>
          </p:nvSpPr>
          <p:spPr>
            <a:xfrm>
              <a:off x="18122744" y="873287"/>
              <a:ext cx="1280160" cy="144780"/>
            </a:xfrm>
            <a:custGeom>
              <a:avLst/>
              <a:gdLst/>
              <a:ahLst/>
              <a:cxnLst/>
              <a:rect l="l" t="t" r="r" b="b"/>
              <a:pathLst>
                <a:path w="1280159" h="144780">
                  <a:moveTo>
                    <a:pt x="234558" y="0"/>
                  </a:moveTo>
                  <a:lnTo>
                    <a:pt x="148937" y="0"/>
                  </a:lnTo>
                  <a:lnTo>
                    <a:pt x="148937" y="144236"/>
                  </a:lnTo>
                  <a:lnTo>
                    <a:pt x="185010" y="144236"/>
                  </a:lnTo>
                  <a:lnTo>
                    <a:pt x="185010" y="87913"/>
                  </a:lnTo>
                  <a:lnTo>
                    <a:pt x="260691" y="87913"/>
                  </a:lnTo>
                  <a:lnTo>
                    <a:pt x="256819" y="81201"/>
                  </a:lnTo>
                  <a:lnTo>
                    <a:pt x="264346" y="74841"/>
                  </a:lnTo>
                  <a:lnTo>
                    <a:pt x="270134" y="66848"/>
                  </a:lnTo>
                  <a:lnTo>
                    <a:pt x="273851" y="57547"/>
                  </a:lnTo>
                  <a:lnTo>
                    <a:pt x="274005" y="56343"/>
                  </a:lnTo>
                  <a:lnTo>
                    <a:pt x="185010" y="56343"/>
                  </a:lnTo>
                  <a:lnTo>
                    <a:pt x="185010" y="31559"/>
                  </a:lnTo>
                  <a:lnTo>
                    <a:pt x="273278" y="31559"/>
                  </a:lnTo>
                  <a:lnTo>
                    <a:pt x="271922" y="24812"/>
                  </a:lnTo>
                  <a:lnTo>
                    <a:pt x="263244" y="11898"/>
                  </a:lnTo>
                  <a:lnTo>
                    <a:pt x="250359" y="3192"/>
                  </a:lnTo>
                  <a:lnTo>
                    <a:pt x="234558" y="0"/>
                  </a:lnTo>
                  <a:close/>
                </a:path>
                <a:path w="1280159" h="144780">
                  <a:moveTo>
                    <a:pt x="260691" y="87913"/>
                  </a:moveTo>
                  <a:lnTo>
                    <a:pt x="224087" y="87913"/>
                  </a:lnTo>
                  <a:lnTo>
                    <a:pt x="256609" y="144236"/>
                  </a:lnTo>
                  <a:lnTo>
                    <a:pt x="293184" y="144236"/>
                  </a:lnTo>
                  <a:lnTo>
                    <a:pt x="260691" y="87913"/>
                  </a:lnTo>
                  <a:close/>
                </a:path>
                <a:path w="1280159" h="144780">
                  <a:moveTo>
                    <a:pt x="404678" y="0"/>
                  </a:moveTo>
                  <a:lnTo>
                    <a:pt x="366302" y="0"/>
                  </a:lnTo>
                  <a:lnTo>
                    <a:pt x="293184" y="144236"/>
                  </a:lnTo>
                  <a:lnTo>
                    <a:pt x="331560" y="144236"/>
                  </a:lnTo>
                  <a:lnTo>
                    <a:pt x="349821" y="108185"/>
                  </a:lnTo>
                  <a:lnTo>
                    <a:pt x="459513" y="108185"/>
                  </a:lnTo>
                  <a:lnTo>
                    <a:pt x="443506" y="76604"/>
                  </a:lnTo>
                  <a:lnTo>
                    <a:pt x="365821" y="76604"/>
                  </a:lnTo>
                  <a:lnTo>
                    <a:pt x="385485" y="37810"/>
                  </a:lnTo>
                  <a:lnTo>
                    <a:pt x="423843" y="37810"/>
                  </a:lnTo>
                  <a:lnTo>
                    <a:pt x="404678" y="0"/>
                  </a:lnTo>
                  <a:close/>
                </a:path>
                <a:path w="1280159" h="144780">
                  <a:moveTo>
                    <a:pt x="459513" y="108185"/>
                  </a:moveTo>
                  <a:lnTo>
                    <a:pt x="421149" y="108185"/>
                  </a:lnTo>
                  <a:lnTo>
                    <a:pt x="439421" y="144236"/>
                  </a:lnTo>
                  <a:lnTo>
                    <a:pt x="477786" y="144236"/>
                  </a:lnTo>
                  <a:lnTo>
                    <a:pt x="459513" y="108185"/>
                  </a:lnTo>
                  <a:close/>
                </a:path>
                <a:path w="1280159" h="144780">
                  <a:moveTo>
                    <a:pt x="423843" y="37810"/>
                  </a:moveTo>
                  <a:lnTo>
                    <a:pt x="385485" y="37810"/>
                  </a:lnTo>
                  <a:lnTo>
                    <a:pt x="405149" y="76604"/>
                  </a:lnTo>
                  <a:lnTo>
                    <a:pt x="443506" y="76604"/>
                  </a:lnTo>
                  <a:lnTo>
                    <a:pt x="423843" y="37810"/>
                  </a:lnTo>
                  <a:close/>
                </a:path>
                <a:path w="1280159" h="144780">
                  <a:moveTo>
                    <a:pt x="273278" y="31559"/>
                  </a:moveTo>
                  <a:lnTo>
                    <a:pt x="235039" y="31559"/>
                  </a:lnTo>
                  <a:lnTo>
                    <a:pt x="239102" y="35632"/>
                  </a:lnTo>
                  <a:lnTo>
                    <a:pt x="239175" y="52281"/>
                  </a:lnTo>
                  <a:lnTo>
                    <a:pt x="235102" y="56343"/>
                  </a:lnTo>
                  <a:lnTo>
                    <a:pt x="274005" y="56343"/>
                  </a:lnTo>
                  <a:lnTo>
                    <a:pt x="275164" y="47265"/>
                  </a:lnTo>
                  <a:lnTo>
                    <a:pt x="275101" y="40627"/>
                  </a:lnTo>
                  <a:lnTo>
                    <a:pt x="273278" y="31559"/>
                  </a:lnTo>
                  <a:close/>
                </a:path>
                <a:path w="1280159" h="144780">
                  <a:moveTo>
                    <a:pt x="1131410" y="0"/>
                  </a:moveTo>
                  <a:lnTo>
                    <a:pt x="1014230" y="0"/>
                  </a:lnTo>
                  <a:lnTo>
                    <a:pt x="1014230" y="144236"/>
                  </a:lnTo>
                  <a:lnTo>
                    <a:pt x="1131410" y="144236"/>
                  </a:lnTo>
                  <a:lnTo>
                    <a:pt x="1131410" y="112666"/>
                  </a:lnTo>
                  <a:lnTo>
                    <a:pt x="1050261" y="112666"/>
                  </a:lnTo>
                  <a:lnTo>
                    <a:pt x="1050261" y="87892"/>
                  </a:lnTo>
                  <a:lnTo>
                    <a:pt x="1126918" y="87892"/>
                  </a:lnTo>
                  <a:lnTo>
                    <a:pt x="1126918" y="56322"/>
                  </a:lnTo>
                  <a:lnTo>
                    <a:pt x="1050261" y="56322"/>
                  </a:lnTo>
                  <a:lnTo>
                    <a:pt x="1050261" y="31538"/>
                  </a:lnTo>
                  <a:lnTo>
                    <a:pt x="1131410" y="31538"/>
                  </a:lnTo>
                  <a:lnTo>
                    <a:pt x="1131410" y="0"/>
                  </a:lnTo>
                  <a:close/>
                </a:path>
                <a:path w="1280159" h="144780">
                  <a:moveTo>
                    <a:pt x="682942" y="107588"/>
                  </a:moveTo>
                  <a:lnTo>
                    <a:pt x="667131" y="134948"/>
                  </a:lnTo>
                  <a:lnTo>
                    <a:pt x="676632" y="138756"/>
                  </a:lnTo>
                  <a:lnTo>
                    <a:pt x="686575" y="141580"/>
                  </a:lnTo>
                  <a:lnTo>
                    <a:pt x="696919" y="143343"/>
                  </a:lnTo>
                  <a:lnTo>
                    <a:pt x="707622" y="143964"/>
                  </a:lnTo>
                  <a:lnTo>
                    <a:pt x="761620" y="143943"/>
                  </a:lnTo>
                  <a:lnTo>
                    <a:pt x="777399" y="140756"/>
                  </a:lnTo>
                  <a:lnTo>
                    <a:pt x="790263" y="132065"/>
                  </a:lnTo>
                  <a:lnTo>
                    <a:pt x="798927" y="119174"/>
                  </a:lnTo>
                  <a:lnTo>
                    <a:pt x="800280" y="112446"/>
                  </a:lnTo>
                  <a:lnTo>
                    <a:pt x="698889" y="112446"/>
                  </a:lnTo>
                  <a:lnTo>
                    <a:pt x="690533" y="110708"/>
                  </a:lnTo>
                  <a:lnTo>
                    <a:pt x="682942" y="107588"/>
                  </a:lnTo>
                  <a:close/>
                </a:path>
                <a:path w="1280159" h="144780">
                  <a:moveTo>
                    <a:pt x="769348" y="0"/>
                  </a:moveTo>
                  <a:lnTo>
                    <a:pt x="707622" y="0"/>
                  </a:lnTo>
                  <a:lnTo>
                    <a:pt x="691838" y="3185"/>
                  </a:lnTo>
                  <a:lnTo>
                    <a:pt x="678970" y="11873"/>
                  </a:lnTo>
                  <a:lnTo>
                    <a:pt x="670305" y="24763"/>
                  </a:lnTo>
                  <a:lnTo>
                    <a:pt x="667131" y="40553"/>
                  </a:lnTo>
                  <a:lnTo>
                    <a:pt x="667131" y="47150"/>
                  </a:lnTo>
                  <a:lnTo>
                    <a:pt x="670305" y="62943"/>
                  </a:lnTo>
                  <a:lnTo>
                    <a:pt x="678970" y="75840"/>
                  </a:lnTo>
                  <a:lnTo>
                    <a:pt x="691838" y="84536"/>
                  </a:lnTo>
                  <a:lnTo>
                    <a:pt x="707622" y="87725"/>
                  </a:lnTo>
                  <a:lnTo>
                    <a:pt x="762112" y="87725"/>
                  </a:lnTo>
                  <a:lnTo>
                    <a:pt x="766165" y="91766"/>
                  </a:lnTo>
                  <a:lnTo>
                    <a:pt x="766165" y="108384"/>
                  </a:lnTo>
                  <a:lnTo>
                    <a:pt x="762112" y="112446"/>
                  </a:lnTo>
                  <a:lnTo>
                    <a:pt x="800280" y="112446"/>
                  </a:lnTo>
                  <a:lnTo>
                    <a:pt x="802101" y="103389"/>
                  </a:lnTo>
                  <a:lnTo>
                    <a:pt x="802101" y="96782"/>
                  </a:lnTo>
                  <a:lnTo>
                    <a:pt x="798927" y="80998"/>
                  </a:lnTo>
                  <a:lnTo>
                    <a:pt x="790263" y="68111"/>
                  </a:lnTo>
                  <a:lnTo>
                    <a:pt x="777399" y="59424"/>
                  </a:lnTo>
                  <a:lnTo>
                    <a:pt x="761620" y="56239"/>
                  </a:lnTo>
                  <a:lnTo>
                    <a:pt x="707119" y="56239"/>
                  </a:lnTo>
                  <a:lnTo>
                    <a:pt x="703046" y="52176"/>
                  </a:lnTo>
                  <a:lnTo>
                    <a:pt x="703046" y="35548"/>
                  </a:lnTo>
                  <a:lnTo>
                    <a:pt x="707119" y="31485"/>
                  </a:lnTo>
                  <a:lnTo>
                    <a:pt x="784080" y="31485"/>
                  </a:lnTo>
                  <a:lnTo>
                    <a:pt x="784080" y="2219"/>
                  </a:lnTo>
                  <a:lnTo>
                    <a:pt x="777369" y="732"/>
                  </a:lnTo>
                  <a:lnTo>
                    <a:pt x="769348" y="0"/>
                  </a:lnTo>
                  <a:close/>
                </a:path>
                <a:path w="1280159" h="144780">
                  <a:moveTo>
                    <a:pt x="784080" y="31485"/>
                  </a:moveTo>
                  <a:lnTo>
                    <a:pt x="766102" y="31485"/>
                  </a:lnTo>
                  <a:lnTo>
                    <a:pt x="781044" y="32533"/>
                  </a:lnTo>
                  <a:lnTo>
                    <a:pt x="784080" y="33726"/>
                  </a:lnTo>
                  <a:lnTo>
                    <a:pt x="784080" y="31485"/>
                  </a:lnTo>
                  <a:close/>
                </a:path>
                <a:path w="1280159" h="144780">
                  <a:moveTo>
                    <a:pt x="1171995" y="0"/>
                  </a:moveTo>
                  <a:lnTo>
                    <a:pt x="1171995" y="144236"/>
                  </a:lnTo>
                  <a:lnTo>
                    <a:pt x="1208067" y="144236"/>
                  </a:lnTo>
                  <a:lnTo>
                    <a:pt x="1208067" y="31559"/>
                  </a:lnTo>
                  <a:lnTo>
                    <a:pt x="1261741" y="31559"/>
                  </a:lnTo>
                  <a:lnTo>
                    <a:pt x="1279971" y="20"/>
                  </a:lnTo>
                  <a:lnTo>
                    <a:pt x="1171995" y="0"/>
                  </a:lnTo>
                  <a:close/>
                </a:path>
                <a:path w="1280159" h="144780">
                  <a:moveTo>
                    <a:pt x="869994" y="0"/>
                  </a:moveTo>
                  <a:lnTo>
                    <a:pt x="829419" y="0"/>
                  </a:lnTo>
                  <a:lnTo>
                    <a:pt x="829419" y="144236"/>
                  </a:lnTo>
                  <a:lnTo>
                    <a:pt x="865460" y="144236"/>
                  </a:lnTo>
                  <a:lnTo>
                    <a:pt x="865460" y="49747"/>
                  </a:lnTo>
                  <a:lnTo>
                    <a:pt x="905595" y="49747"/>
                  </a:lnTo>
                  <a:lnTo>
                    <a:pt x="869994" y="0"/>
                  </a:lnTo>
                  <a:close/>
                </a:path>
                <a:path w="1280159" h="144780">
                  <a:moveTo>
                    <a:pt x="905595" y="49747"/>
                  </a:moveTo>
                  <a:lnTo>
                    <a:pt x="865460" y="49747"/>
                  </a:lnTo>
                  <a:lnTo>
                    <a:pt x="933081" y="144236"/>
                  </a:lnTo>
                  <a:lnTo>
                    <a:pt x="973656" y="144236"/>
                  </a:lnTo>
                  <a:lnTo>
                    <a:pt x="973656" y="94489"/>
                  </a:lnTo>
                  <a:lnTo>
                    <a:pt x="937615" y="94489"/>
                  </a:lnTo>
                  <a:lnTo>
                    <a:pt x="905595" y="49747"/>
                  </a:lnTo>
                  <a:close/>
                </a:path>
                <a:path w="1280159" h="144780">
                  <a:moveTo>
                    <a:pt x="973656" y="125"/>
                  </a:moveTo>
                  <a:lnTo>
                    <a:pt x="937615" y="125"/>
                  </a:lnTo>
                  <a:lnTo>
                    <a:pt x="937615" y="94489"/>
                  </a:lnTo>
                  <a:lnTo>
                    <a:pt x="973656" y="94489"/>
                  </a:lnTo>
                  <a:lnTo>
                    <a:pt x="973656" y="125"/>
                  </a:lnTo>
                  <a:close/>
                </a:path>
                <a:path w="1280159" h="144780">
                  <a:moveTo>
                    <a:pt x="108363" y="31559"/>
                  </a:moveTo>
                  <a:lnTo>
                    <a:pt x="72290" y="31559"/>
                  </a:lnTo>
                  <a:lnTo>
                    <a:pt x="72290" y="144236"/>
                  </a:lnTo>
                  <a:lnTo>
                    <a:pt x="108363" y="144236"/>
                  </a:lnTo>
                  <a:lnTo>
                    <a:pt x="108363" y="31559"/>
                  </a:lnTo>
                  <a:close/>
                </a:path>
                <a:path w="1280159" h="144780">
                  <a:moveTo>
                    <a:pt x="108363" y="0"/>
                  </a:moveTo>
                  <a:lnTo>
                    <a:pt x="0" y="20"/>
                  </a:lnTo>
                  <a:lnTo>
                    <a:pt x="18219" y="31569"/>
                  </a:lnTo>
                  <a:lnTo>
                    <a:pt x="108363" y="31559"/>
                  </a:lnTo>
                  <a:lnTo>
                    <a:pt x="108363" y="0"/>
                  </a:lnTo>
                  <a:close/>
                </a:path>
                <a:path w="1280159" h="144780">
                  <a:moveTo>
                    <a:pt x="531879" y="0"/>
                  </a:moveTo>
                  <a:lnTo>
                    <a:pt x="491314" y="0"/>
                  </a:lnTo>
                  <a:lnTo>
                    <a:pt x="491314" y="144236"/>
                  </a:lnTo>
                  <a:lnTo>
                    <a:pt x="527355" y="144236"/>
                  </a:lnTo>
                  <a:lnTo>
                    <a:pt x="527355" y="49747"/>
                  </a:lnTo>
                  <a:lnTo>
                    <a:pt x="567486" y="49747"/>
                  </a:lnTo>
                  <a:lnTo>
                    <a:pt x="531879" y="0"/>
                  </a:lnTo>
                  <a:close/>
                </a:path>
                <a:path w="1280159" h="144780">
                  <a:moveTo>
                    <a:pt x="567486" y="49747"/>
                  </a:moveTo>
                  <a:lnTo>
                    <a:pt x="527355" y="49747"/>
                  </a:lnTo>
                  <a:lnTo>
                    <a:pt x="594987" y="144236"/>
                  </a:lnTo>
                  <a:lnTo>
                    <a:pt x="635561" y="144236"/>
                  </a:lnTo>
                  <a:lnTo>
                    <a:pt x="635561" y="94489"/>
                  </a:lnTo>
                  <a:lnTo>
                    <a:pt x="599510" y="94489"/>
                  </a:lnTo>
                  <a:lnTo>
                    <a:pt x="567486" y="49747"/>
                  </a:lnTo>
                  <a:close/>
                </a:path>
                <a:path w="1280159" h="144780">
                  <a:moveTo>
                    <a:pt x="635561" y="125"/>
                  </a:moveTo>
                  <a:lnTo>
                    <a:pt x="599510" y="125"/>
                  </a:lnTo>
                  <a:lnTo>
                    <a:pt x="599510" y="94489"/>
                  </a:lnTo>
                  <a:lnTo>
                    <a:pt x="635561" y="94489"/>
                  </a:lnTo>
                  <a:lnTo>
                    <a:pt x="635561" y="125"/>
                  </a:lnTo>
                  <a:close/>
                </a:path>
              </a:pathLst>
            </a:custGeom>
            <a:solidFill>
              <a:srgbClr val="EB2F23"/>
            </a:solidFill>
          </p:spPr>
          <p:txBody>
            <a:bodyPr wrap="square" lIns="0" tIns="0" rIns="0" bIns="0" rtlCol="0"/>
            <a:lstStyle/>
            <a:p>
              <a:endParaRPr sz="637" b="0" i="0" dirty="0">
                <a:latin typeface="Tahoma Regular"/>
              </a:endParaRPr>
            </a:p>
          </p:txBody>
        </p:sp>
      </p:grpSp>
      <p:sp>
        <p:nvSpPr>
          <p:cNvPr id="11" name="object 11">
            <a:extLst>
              <a:ext uri="{FF2B5EF4-FFF2-40B4-BE49-F238E27FC236}">
                <a16:creationId xmlns:a16="http://schemas.microsoft.com/office/drawing/2014/main" id="{B1928782-0C78-CB41-8FE1-3353387FA322}"/>
              </a:ext>
            </a:extLst>
          </p:cNvPr>
          <p:cNvSpPr/>
          <p:nvPr userDrawn="1"/>
        </p:nvSpPr>
        <p:spPr>
          <a:xfrm>
            <a:off x="635836" y="6136761"/>
            <a:ext cx="170596"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
        <p:nvSpPr>
          <p:cNvPr id="12" name="object 6">
            <a:extLst>
              <a:ext uri="{FF2B5EF4-FFF2-40B4-BE49-F238E27FC236}">
                <a16:creationId xmlns:a16="http://schemas.microsoft.com/office/drawing/2014/main" id="{CB7950BA-981A-DF44-A589-418E95F75F8B}"/>
              </a:ext>
            </a:extLst>
          </p:cNvPr>
          <p:cNvSpPr/>
          <p:nvPr userDrawn="1"/>
        </p:nvSpPr>
        <p:spPr>
          <a:xfrm>
            <a:off x="628654" y="1514047"/>
            <a:ext cx="11055595" cy="0"/>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301438096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pattFill prst="pct5">
          <a:fgClr>
            <a:schemeClr val="bg2">
              <a:lumMod val="60000"/>
              <a:lumOff val="40000"/>
            </a:schemeClr>
          </a:fgClr>
          <a:bgClr>
            <a:schemeClr val="bg1"/>
          </a:bgClr>
        </a:patt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5" imgW="421" imgH="420" progId="TCLayout.ActiveDocument.1">
                  <p:embed/>
                </p:oleObj>
              </mc:Choice>
              <mc:Fallback>
                <p:oleObj name="think-cell Slide" r:id="rId15" imgW="421" imgH="420"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07816319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70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ED9DC402-9636-894A-B828-DA8E9E78B6FB}"/>
              </a:ext>
            </a:extLst>
          </p:cNvPr>
          <p:cNvSpPr txBox="1">
            <a:spLocks/>
          </p:cNvSpPr>
          <p:nvPr/>
        </p:nvSpPr>
        <p:spPr>
          <a:xfrm>
            <a:off x="1206786" y="2433917"/>
            <a:ext cx="7537163" cy="1610398"/>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2200" b="0" i="0" kern="1200">
                <a:solidFill>
                  <a:schemeClr val="bg1"/>
                </a:solidFill>
                <a:latin typeface="Tahoma Regular"/>
                <a:ea typeface="+mn-ea"/>
                <a:cs typeface="+mn-cs"/>
              </a:defRPr>
            </a:lvl1pPr>
            <a:lvl2pPr marL="44641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89282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3923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78564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Aft>
                <a:spcPts val="0"/>
              </a:spcAft>
              <a:tabLst>
                <a:tab pos="1524000" algn="l"/>
                <a:tab pos="1800225" algn="l"/>
              </a:tabLst>
            </a:pPr>
            <a:endParaRPr lang="en-GB" sz="2400" dirty="0"/>
          </a:p>
          <a:p>
            <a:pPr>
              <a:lnSpc>
                <a:spcPct val="150000"/>
              </a:lnSpc>
              <a:spcAft>
                <a:spcPts val="0"/>
              </a:spcAft>
              <a:tabLst>
                <a:tab pos="1524000" algn="l"/>
                <a:tab pos="1800225" algn="l"/>
              </a:tabLst>
            </a:pPr>
            <a:endParaRPr lang="en-GB" sz="3200" dirty="0"/>
          </a:p>
          <a:p>
            <a:pPr>
              <a:lnSpc>
                <a:spcPct val="150000"/>
              </a:lnSpc>
              <a:spcAft>
                <a:spcPts val="0"/>
              </a:spcAft>
              <a:tabLst>
                <a:tab pos="1524000" algn="l"/>
                <a:tab pos="1800225" algn="l"/>
              </a:tabLst>
            </a:pPr>
            <a:r>
              <a:rPr lang="en-GB" sz="3200" dirty="0"/>
              <a:t>Non-Compulsory Briefing Session</a:t>
            </a:r>
          </a:p>
          <a:p>
            <a:pPr>
              <a:lnSpc>
                <a:spcPct val="150000"/>
              </a:lnSpc>
              <a:spcAft>
                <a:spcPts val="0"/>
              </a:spcAft>
              <a:tabLst>
                <a:tab pos="1524000" algn="l"/>
                <a:tab pos="1800225" algn="l"/>
              </a:tabLst>
            </a:pPr>
            <a:r>
              <a:rPr lang="en-GB" sz="3200" dirty="0"/>
              <a:t>Date:	03 May 2023 at 12:00</a:t>
            </a:r>
          </a:p>
          <a:p>
            <a:pPr>
              <a:lnSpc>
                <a:spcPct val="150000"/>
              </a:lnSpc>
              <a:spcAft>
                <a:spcPts val="0"/>
              </a:spcAft>
              <a:tabLst>
                <a:tab pos="1524000" algn="l"/>
                <a:tab pos="1800225" algn="l"/>
              </a:tabLst>
            </a:pPr>
            <a:endParaRPr lang="en-GB" sz="3200" dirty="0"/>
          </a:p>
          <a:p>
            <a:pPr>
              <a:lnSpc>
                <a:spcPct val="150000"/>
              </a:lnSpc>
              <a:spcAft>
                <a:spcPts val="0"/>
              </a:spcAft>
              <a:tabLst>
                <a:tab pos="1524000" algn="l"/>
                <a:tab pos="1800225" algn="l"/>
              </a:tabLst>
            </a:pPr>
            <a:endParaRPr lang="en-GB" sz="2400" dirty="0"/>
          </a:p>
        </p:txBody>
      </p:sp>
      <p:sp>
        <p:nvSpPr>
          <p:cNvPr id="7" name="Text Placeholder 1">
            <a:extLst>
              <a:ext uri="{FF2B5EF4-FFF2-40B4-BE49-F238E27FC236}">
                <a16:creationId xmlns:a16="http://schemas.microsoft.com/office/drawing/2014/main" id="{497FAB9B-4F5C-DC45-B61E-D97AC27AF5B7}"/>
              </a:ext>
            </a:extLst>
          </p:cNvPr>
          <p:cNvSpPr>
            <a:spLocks noGrp="1"/>
          </p:cNvSpPr>
          <p:nvPr>
            <p:ph type="body" sz="quarter" idx="11"/>
          </p:nvPr>
        </p:nvSpPr>
        <p:spPr>
          <a:xfrm>
            <a:off x="1130587" y="4044315"/>
            <a:ext cx="10566113" cy="1158240"/>
          </a:xfrm>
        </p:spPr>
        <p:txBody>
          <a:bodyPr/>
          <a:lstStyle/>
          <a:p>
            <a:pPr>
              <a:lnSpc>
                <a:spcPct val="100000"/>
              </a:lnSpc>
            </a:pPr>
            <a:r>
              <a:rPr lang="en-US" dirty="0"/>
              <a:t>PURCHASE OF THE CARLTON CENTRE COMPLEX LOCATED IN THE JOHANNESBURG CENTRAL BUSINESS DISTRICT (CBD), SOUTH AFRICA A TRANSNET IMMOVABLE PROPERTY ASSET TP/2023/03/0002/25867/RFP</a:t>
            </a:r>
          </a:p>
          <a:p>
            <a:pPr>
              <a:lnSpc>
                <a:spcPct val="100000"/>
              </a:lnSpc>
            </a:pPr>
            <a:endParaRPr lang="en-US" dirty="0"/>
          </a:p>
        </p:txBody>
      </p:sp>
    </p:spTree>
    <p:extLst>
      <p:ext uri="{BB962C8B-B14F-4D97-AF65-F5344CB8AC3E}">
        <p14:creationId xmlns:p14="http://schemas.microsoft.com/office/powerpoint/2010/main" val="29785615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4145280" y="1255959"/>
            <a:ext cx="2883537" cy="577035"/>
          </a:xfrm>
          <a:prstGeom prst="rect">
            <a:avLst/>
          </a:prstGeom>
        </p:spPr>
        <p:txBody>
          <a:bodyPr vert="horz" wrap="square" lIns="0" tIns="7701" rIns="0" bIns="0" rtlCol="0">
            <a:spAutoFit/>
          </a:bodyPr>
          <a:lstStyle/>
          <a:p>
            <a:pPr marL="7701" marR="0" lvl="0" indent="0" algn="l" defTabSz="457200" rtl="0" eaLnBrk="1" fontAlgn="auto" latinLnBrk="0" hangingPunct="1">
              <a:lnSpc>
                <a:spcPct val="100000"/>
              </a:lnSpc>
              <a:spcBef>
                <a:spcPts val="61"/>
              </a:spcBef>
              <a:spcAft>
                <a:spcPts val="0"/>
              </a:spcAft>
              <a:buClrTx/>
              <a:buSzTx/>
              <a:buFontTx/>
              <a:buNone/>
              <a:tabLst/>
              <a:defRPr/>
            </a:pPr>
            <a:r>
              <a:rPr kumimoji="0" sz="3699" b="1" i="0" u="none" strike="noStrike" kern="1200" cap="none" spc="0" normalizeH="0" baseline="0" noProof="0" dirty="0">
                <a:ln>
                  <a:noFill/>
                </a:ln>
                <a:solidFill>
                  <a:srgbClr val="E62F21"/>
                </a:solidFill>
                <a:effectLst/>
                <a:uLnTx/>
                <a:uFillTx/>
                <a:latin typeface="Tahoma" panose="020B0604030504040204" pitchFamily="34" charset="0"/>
                <a:ea typeface="+mn-ea"/>
                <a:cs typeface="Tahoma" panose="020B0604030504040204" pitchFamily="34" charset="0"/>
              </a:rPr>
              <a:t>THANK</a:t>
            </a:r>
            <a:r>
              <a:rPr kumimoji="0" sz="3699" b="1" i="0" u="none" strike="noStrike" kern="1200" cap="none" spc="-88" normalizeH="0" baseline="0" noProof="0" dirty="0">
                <a:ln>
                  <a:noFill/>
                </a:ln>
                <a:solidFill>
                  <a:srgbClr val="E62F21"/>
                </a:solidFill>
                <a:effectLst/>
                <a:uLnTx/>
                <a:uFillTx/>
                <a:latin typeface="Tahoma" panose="020B0604030504040204" pitchFamily="34" charset="0"/>
                <a:ea typeface="+mn-ea"/>
                <a:cs typeface="Tahoma" panose="020B0604030504040204" pitchFamily="34" charset="0"/>
              </a:rPr>
              <a:t> </a:t>
            </a:r>
            <a:r>
              <a:rPr kumimoji="0" sz="3699" b="1" i="0" u="none" strike="noStrike" kern="1200" cap="none" spc="-52" normalizeH="0" baseline="0" noProof="0" dirty="0">
                <a:ln>
                  <a:noFill/>
                </a:ln>
                <a:solidFill>
                  <a:srgbClr val="E62F21"/>
                </a:solidFill>
                <a:effectLst/>
                <a:uLnTx/>
                <a:uFillTx/>
                <a:latin typeface="Tahoma" panose="020B0604030504040204" pitchFamily="34" charset="0"/>
                <a:ea typeface="+mn-ea"/>
                <a:cs typeface="Tahoma" panose="020B0604030504040204" pitchFamily="34" charset="0"/>
              </a:rPr>
              <a:t>YOU</a:t>
            </a:r>
            <a:endParaRPr kumimoji="0" sz="3699" b="1" i="0" u="none" strike="noStrike" kern="1200" cap="none" spc="0" normalizeH="0" baseline="0" noProof="0" dirty="0">
              <a:ln>
                <a:noFill/>
              </a:ln>
              <a:solidFill>
                <a:srgbClr val="E62F21"/>
              </a:solidFill>
              <a:effectLst/>
              <a:uLnTx/>
              <a:uFillTx/>
              <a:latin typeface="Tahoma" panose="020B0604030504040204" pitchFamily="34" charset="0"/>
              <a:ea typeface="+mn-ea"/>
              <a:cs typeface="Tahoma" panose="020B0604030504040204" pitchFamily="34" charset="0"/>
            </a:endParaRPr>
          </a:p>
        </p:txBody>
      </p:sp>
      <p:sp>
        <p:nvSpPr>
          <p:cNvPr id="3" name="object 3">
            <a:extLst>
              <a:ext uri="{FF2B5EF4-FFF2-40B4-BE49-F238E27FC236}">
                <a16:creationId xmlns:a16="http://schemas.microsoft.com/office/drawing/2014/main" id="{1127AEA1-76F1-F64C-8133-DB1211C67541}"/>
              </a:ext>
            </a:extLst>
          </p:cNvPr>
          <p:cNvSpPr txBox="1"/>
          <p:nvPr/>
        </p:nvSpPr>
        <p:spPr>
          <a:xfrm>
            <a:off x="2481561" y="1832994"/>
            <a:ext cx="6738006" cy="1831403"/>
          </a:xfrm>
          <a:prstGeom prst="rect">
            <a:avLst/>
          </a:prstGeom>
        </p:spPr>
        <p:txBody>
          <a:bodyPr vert="horz" wrap="square" lIns="0" tIns="96651" rIns="0" bIns="0" rtlCol="0">
            <a:spAutoFit/>
          </a:bodyPr>
          <a:lstStyle/>
          <a:p>
            <a:pPr marL="7701" marR="0" lvl="0" indent="0" algn="ctr" defTabSz="457200" rtl="0" eaLnBrk="1" fontAlgn="auto" latinLnBrk="0" hangingPunct="1">
              <a:lnSpc>
                <a:spcPct val="100000"/>
              </a:lnSpc>
              <a:spcBef>
                <a:spcPts val="761"/>
              </a:spcBef>
              <a:spcAft>
                <a:spcPts val="0"/>
              </a:spcAft>
              <a:buClrTx/>
              <a:buSzTx/>
              <a:buFontTx/>
              <a:buNone/>
              <a:tabLst/>
              <a:defRPr/>
            </a:pPr>
            <a:r>
              <a:rPr kumimoji="0" sz="2400" b="1" i="0" u="none" strike="noStrike" kern="1200" cap="none" spc="-3"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rPr>
              <a:t>Contact</a:t>
            </a:r>
            <a:r>
              <a:rPr kumimoji="0" sz="2400" b="1" i="0" u="none" strike="noStrike" kern="1200" cap="none" spc="-36"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rPr>
              <a:t> </a:t>
            </a:r>
            <a:r>
              <a:rPr kumimoji="0" sz="2400" b="1" i="0" u="none" strike="noStrike" kern="1200" cap="none" spc="-3"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rPr>
              <a:t>details</a:t>
            </a:r>
            <a:endParaRPr kumimoji="0" lang="en-ZA" sz="2400" b="1" i="0" u="none" strike="noStrike" kern="1200" cap="none" spc="-3"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endParaRPr>
          </a:p>
          <a:p>
            <a:pPr marL="7701" marR="0" lvl="0" indent="0" defTabSz="457200" rtl="0" eaLnBrk="1" fontAlgn="auto" latinLnBrk="0" hangingPunct="1">
              <a:lnSpc>
                <a:spcPct val="100000"/>
              </a:lnSpc>
              <a:spcBef>
                <a:spcPts val="761"/>
              </a:spcBef>
              <a:spcAft>
                <a:spcPts val="0"/>
              </a:spcAft>
              <a:buClrTx/>
              <a:buSzTx/>
              <a:buFontTx/>
              <a:buNone/>
              <a:tabLst/>
              <a:defRPr/>
            </a:pPr>
            <a:endParaRPr kumimoji="0" sz="2400" b="1" i="0" u="none" strike="noStrike" kern="120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endParaRPr>
          </a:p>
          <a:p>
            <a:pPr marL="7701" marR="0" lvl="0" indent="0" defTabSz="457200" rtl="0" eaLnBrk="1" fontAlgn="auto" latinLnBrk="0" hangingPunct="1">
              <a:lnSpc>
                <a:spcPct val="100000"/>
              </a:lnSpc>
              <a:spcBef>
                <a:spcPts val="558"/>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mj-lt"/>
                <a:ea typeface="+mn-ea"/>
                <a:cs typeface="ApexNew-Book"/>
              </a:rPr>
              <a:t>The Buyer</a:t>
            </a:r>
            <a:endParaRPr lang="en-US" sz="2400" b="1" dirty="0">
              <a:solidFill>
                <a:srgbClr val="000000"/>
              </a:solidFill>
              <a:latin typeface="+mj-lt"/>
              <a:cs typeface="ApexNew-Book"/>
            </a:endParaRPr>
          </a:p>
          <a:p>
            <a:pPr marL="7701" marR="0" lvl="0" indent="0" defTabSz="457200" rtl="0" eaLnBrk="1" fontAlgn="auto" latinLnBrk="0" hangingPunct="1">
              <a:lnSpc>
                <a:spcPct val="100000"/>
              </a:lnSpc>
              <a:spcBef>
                <a:spcPts val="558"/>
              </a:spcBef>
              <a:spcAft>
                <a:spcPts val="0"/>
              </a:spcAft>
              <a:buClrTx/>
              <a:buSzTx/>
              <a:buFontTx/>
              <a:buNone/>
              <a:tabLst/>
              <a:defRPr/>
            </a:pPr>
            <a:r>
              <a:rPr lang="en-US" sz="2400" b="1" dirty="0">
                <a:solidFill>
                  <a:srgbClr val="000000"/>
                </a:solidFill>
                <a:latin typeface="+mj-lt"/>
                <a:cs typeface="ApexNew-Book"/>
              </a:rPr>
              <a:t>CarltonCentreDisposal@transnet.net</a:t>
            </a:r>
            <a:endParaRPr kumimoji="0" lang="en-US" sz="2400" b="1" i="0" u="none" strike="noStrike" kern="1200" cap="none" spc="0" normalizeH="0" baseline="0" noProof="0" dirty="0">
              <a:ln>
                <a:noFill/>
              </a:ln>
              <a:solidFill>
                <a:srgbClr val="000000"/>
              </a:solidFill>
              <a:effectLst/>
              <a:uLnTx/>
              <a:uFillTx/>
              <a:latin typeface="+mj-lt"/>
              <a:ea typeface="+mn-ea"/>
              <a:cs typeface="ApexNew-Book"/>
            </a:endParaRPr>
          </a:p>
        </p:txBody>
      </p:sp>
    </p:spTree>
    <p:extLst>
      <p:ext uri="{BB962C8B-B14F-4D97-AF65-F5344CB8AC3E}">
        <p14:creationId xmlns:p14="http://schemas.microsoft.com/office/powerpoint/2010/main" val="841063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BDA6-D857-4A59-92A7-2A440ABC609D}"/>
              </a:ext>
            </a:extLst>
          </p:cNvPr>
          <p:cNvSpPr>
            <a:spLocks noGrp="1"/>
          </p:cNvSpPr>
          <p:nvPr>
            <p:ph type="ctrTitle"/>
          </p:nvPr>
        </p:nvSpPr>
        <p:spPr/>
        <p:txBody>
          <a:bodyPr/>
          <a:lstStyle/>
          <a:p>
            <a:r>
              <a:rPr lang="en-US" dirty="0"/>
              <a:t>Discussion Items</a:t>
            </a:r>
            <a:endParaRPr lang="en-ZA" dirty="0"/>
          </a:p>
        </p:txBody>
      </p:sp>
      <p:sp>
        <p:nvSpPr>
          <p:cNvPr id="3" name="Content Placeholder 2">
            <a:extLst>
              <a:ext uri="{FF2B5EF4-FFF2-40B4-BE49-F238E27FC236}">
                <a16:creationId xmlns:a16="http://schemas.microsoft.com/office/drawing/2014/main" id="{E2593228-1684-4C82-A963-D4BDDF30BE3D}"/>
              </a:ext>
            </a:extLst>
          </p:cNvPr>
          <p:cNvSpPr>
            <a:spLocks noGrp="1"/>
          </p:cNvSpPr>
          <p:nvPr>
            <p:ph idx="1"/>
          </p:nvPr>
        </p:nvSpPr>
        <p:spPr/>
        <p:txBody>
          <a:bodyPr/>
          <a:lstStyle/>
          <a:p>
            <a:pPr marL="274817" indent="-457200">
              <a:buAutoNum type="arabicPeriod"/>
            </a:pPr>
            <a:r>
              <a:rPr lang="en-ZA" dirty="0"/>
              <a:t>Opening and Welcome</a:t>
            </a:r>
          </a:p>
          <a:p>
            <a:pPr marL="274817" indent="-457200">
              <a:buAutoNum type="arabicPeriod"/>
            </a:pPr>
            <a:r>
              <a:rPr lang="en-ZA" dirty="0"/>
              <a:t>SCM Administrative Requirements Clarification</a:t>
            </a:r>
          </a:p>
          <a:p>
            <a:pPr marL="274817" indent="-457200">
              <a:buAutoNum type="arabicPeriod"/>
            </a:pPr>
            <a:r>
              <a:rPr lang="en-ZA" dirty="0"/>
              <a:t>Technical Requirements Clarification</a:t>
            </a:r>
          </a:p>
          <a:p>
            <a:pPr marL="274817" indent="-457200">
              <a:buAutoNum type="arabicPeriod"/>
            </a:pPr>
            <a:r>
              <a:rPr lang="en-US" dirty="0"/>
              <a:t>Questions and Answers</a:t>
            </a:r>
          </a:p>
          <a:p>
            <a:pPr marL="274817" indent="-457200">
              <a:buAutoNum type="arabicPeriod"/>
            </a:pPr>
            <a:r>
              <a:rPr lang="en-US" dirty="0"/>
              <a:t>Closing</a:t>
            </a:r>
          </a:p>
          <a:p>
            <a:endParaRPr lang="en-ZA" dirty="0"/>
          </a:p>
        </p:txBody>
      </p:sp>
    </p:spTree>
    <p:extLst>
      <p:ext uri="{BB962C8B-B14F-4D97-AF65-F5344CB8AC3E}">
        <p14:creationId xmlns:p14="http://schemas.microsoft.com/office/powerpoint/2010/main" val="2219766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3FD86-CFA7-4BF4-88A8-D79C430E8FCA}"/>
              </a:ext>
            </a:extLst>
          </p:cNvPr>
          <p:cNvSpPr>
            <a:spLocks noGrp="1"/>
          </p:cNvSpPr>
          <p:nvPr>
            <p:ph type="ctrTitle"/>
          </p:nvPr>
        </p:nvSpPr>
        <p:spPr/>
        <p:txBody>
          <a:bodyPr/>
          <a:lstStyle/>
          <a:p>
            <a:r>
              <a:rPr lang="en-ZA" dirty="0"/>
              <a:t>SCM ADMINISTRATION CLARIFICATION </a:t>
            </a:r>
            <a:endParaRPr lang="en-US" dirty="0"/>
          </a:p>
        </p:txBody>
      </p:sp>
      <p:sp>
        <p:nvSpPr>
          <p:cNvPr id="3" name="Content Placeholder 2">
            <a:extLst>
              <a:ext uri="{FF2B5EF4-FFF2-40B4-BE49-F238E27FC236}">
                <a16:creationId xmlns:a16="http://schemas.microsoft.com/office/drawing/2014/main" id="{A53DE258-1CBC-4972-867B-E3D546C1F4AC}"/>
              </a:ext>
            </a:extLst>
          </p:cNvPr>
          <p:cNvSpPr>
            <a:spLocks noGrp="1"/>
          </p:cNvSpPr>
          <p:nvPr>
            <p:ph idx="1"/>
          </p:nvPr>
        </p:nvSpPr>
        <p:spPr/>
        <p:txBody>
          <a:bodyPr/>
          <a:lstStyle/>
          <a:p>
            <a:pPr marL="342900" indent="-342900">
              <a:buFont typeface="Wingdings" panose="05000000000000000000" pitchFamily="2" charset="2"/>
              <a:buChar char="§"/>
            </a:pPr>
            <a:endParaRPr lang="en-ZA" dirty="0">
              <a:solidFill>
                <a:schemeClr val="tx1"/>
              </a:solidFill>
            </a:endParaRPr>
          </a:p>
          <a:p>
            <a:pPr marL="342900" indent="-342900">
              <a:buFont typeface="Wingdings" panose="05000000000000000000" pitchFamily="2" charset="2"/>
              <a:buChar char="§"/>
            </a:pPr>
            <a:r>
              <a:rPr lang="en-ZA" sz="2800" dirty="0">
                <a:solidFill>
                  <a:schemeClr val="tx1"/>
                </a:solidFill>
              </a:rPr>
              <a:t>Ensure transparency and fairness of process</a:t>
            </a:r>
          </a:p>
          <a:p>
            <a:pPr marL="342900" indent="-342900">
              <a:buFont typeface="Wingdings" panose="05000000000000000000" pitchFamily="2" charset="2"/>
              <a:buChar char="§"/>
            </a:pPr>
            <a:r>
              <a:rPr lang="en-ZA" sz="2800" dirty="0">
                <a:solidFill>
                  <a:schemeClr val="tx1"/>
                </a:solidFill>
              </a:rPr>
              <a:t>Highlight the importance of compliance to RFP requirements</a:t>
            </a:r>
          </a:p>
          <a:p>
            <a:pPr marL="342900" indent="-342900">
              <a:buFont typeface="Wingdings" panose="05000000000000000000" pitchFamily="2" charset="2"/>
              <a:buChar char="§"/>
            </a:pPr>
            <a:r>
              <a:rPr lang="en-ZA" sz="2800" dirty="0">
                <a:solidFill>
                  <a:schemeClr val="tx1"/>
                </a:solidFill>
              </a:rPr>
              <a:t>Pre-qualification criteria</a:t>
            </a:r>
          </a:p>
          <a:p>
            <a:pPr marL="342900" indent="-342900">
              <a:buFont typeface="Wingdings" panose="05000000000000000000" pitchFamily="2" charset="2"/>
              <a:buChar char="§"/>
            </a:pPr>
            <a:r>
              <a:rPr lang="en-ZA" sz="2800" dirty="0">
                <a:solidFill>
                  <a:schemeClr val="tx1"/>
                </a:solidFill>
              </a:rPr>
              <a:t>Evaluation Criteria and scoring</a:t>
            </a:r>
          </a:p>
          <a:p>
            <a:pPr marL="342900" indent="-342900">
              <a:buFont typeface="Wingdings" panose="05000000000000000000" pitchFamily="2" charset="2"/>
              <a:buChar char="§"/>
            </a:pPr>
            <a:endParaRPr lang="en-ZA" dirty="0">
              <a:solidFill>
                <a:schemeClr val="tx1"/>
              </a:solidFill>
            </a:endParaRPr>
          </a:p>
          <a:p>
            <a:pPr marL="342900" indent="-342900">
              <a:buFont typeface="Wingdings" panose="05000000000000000000" pitchFamily="2" charset="2"/>
              <a:buChar char="§"/>
            </a:pPr>
            <a:endParaRPr lang="en-ZA" dirty="0">
              <a:solidFill>
                <a:schemeClr val="tx1"/>
              </a:solidFill>
            </a:endParaRPr>
          </a:p>
          <a:p>
            <a:pPr marL="342900" indent="-342900">
              <a:buFont typeface="Wingdings" panose="05000000000000000000" pitchFamily="2" charset="2"/>
              <a:buChar char="§"/>
            </a:pPr>
            <a:endParaRPr lang="en-US" dirty="0">
              <a:solidFill>
                <a:schemeClr val="tx1"/>
              </a:solidFill>
            </a:endParaRPr>
          </a:p>
        </p:txBody>
      </p:sp>
    </p:spTree>
    <p:extLst>
      <p:ext uri="{BB962C8B-B14F-4D97-AF65-F5344CB8AC3E}">
        <p14:creationId xmlns:p14="http://schemas.microsoft.com/office/powerpoint/2010/main" val="1334242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C21BA-13DB-4C3C-AD8C-F80D99B32048}"/>
              </a:ext>
            </a:extLst>
          </p:cNvPr>
          <p:cNvSpPr>
            <a:spLocks noGrp="1"/>
          </p:cNvSpPr>
          <p:nvPr>
            <p:ph type="ctrTitle"/>
          </p:nvPr>
        </p:nvSpPr>
        <p:spPr/>
        <p:txBody>
          <a:bodyPr/>
          <a:lstStyle/>
          <a:p>
            <a:r>
              <a:rPr lang="en-ZA" dirty="0"/>
              <a:t> BACKGROUND</a:t>
            </a:r>
            <a:endParaRPr lang="en-US" dirty="0"/>
          </a:p>
        </p:txBody>
      </p:sp>
      <p:sp>
        <p:nvSpPr>
          <p:cNvPr id="3" name="Content Placeholder 2">
            <a:extLst>
              <a:ext uri="{FF2B5EF4-FFF2-40B4-BE49-F238E27FC236}">
                <a16:creationId xmlns:a16="http://schemas.microsoft.com/office/drawing/2014/main" id="{BBF33776-00CF-4BB7-895D-BC6F07FD06B1}"/>
              </a:ext>
            </a:extLst>
          </p:cNvPr>
          <p:cNvSpPr>
            <a:spLocks noGrp="1"/>
          </p:cNvSpPr>
          <p:nvPr>
            <p:ph idx="1"/>
          </p:nvPr>
        </p:nvSpPr>
        <p:spPr>
          <a:xfrm>
            <a:off x="568328" y="1124888"/>
            <a:ext cx="11055343" cy="5022693"/>
          </a:xfrm>
        </p:spPr>
        <p:txBody>
          <a:bodyPr/>
          <a:lstStyle/>
          <a:p>
            <a:pPr marL="285750" indent="-285750">
              <a:buFont typeface="Arial" panose="020B0604020202020204" pitchFamily="34" charset="0"/>
              <a:buChar char="•"/>
            </a:pPr>
            <a:r>
              <a:rPr lang="en-US" sz="1800" dirty="0">
                <a:solidFill>
                  <a:srgbClr val="000000"/>
                </a:solidFill>
                <a:latin typeface="Tahoma" panose="020B0604030504040204" pitchFamily="34" charset="0"/>
              </a:rPr>
              <a:t>Transnet Property (TP) main objective is to:</a:t>
            </a:r>
          </a:p>
          <a:p>
            <a:pPr marL="514362" lvl="1" indent="-285750">
              <a:buFont typeface="Wingdings" panose="05000000000000000000" pitchFamily="2" charset="2"/>
              <a:buChar char="ü"/>
            </a:pPr>
            <a:r>
              <a:rPr lang="en-US" sz="1600" dirty="0">
                <a:solidFill>
                  <a:srgbClr val="000000"/>
                </a:solidFill>
                <a:latin typeface="Tahoma" panose="020B0604030504040204" pitchFamily="34" charset="0"/>
              </a:rPr>
              <a:t>M</a:t>
            </a:r>
            <a:r>
              <a:rPr lang="en-US" sz="1600" b="0" i="0" u="none" strike="noStrike" baseline="0" dirty="0">
                <a:solidFill>
                  <a:srgbClr val="000000"/>
                </a:solidFill>
                <a:latin typeface="Tahoma" panose="020B0604030504040204" pitchFamily="34" charset="0"/>
              </a:rPr>
              <a:t>anage, acquire and dispose Transnet SOC Ltd (Transnet) owned immovable property assets and </a:t>
            </a:r>
          </a:p>
          <a:p>
            <a:pPr marL="514362" lvl="1" indent="-285750">
              <a:buFont typeface="Wingdings" panose="05000000000000000000" pitchFamily="2" charset="2"/>
              <a:buChar char="ü"/>
            </a:pPr>
            <a:r>
              <a:rPr lang="en-US" sz="1600" b="0" i="0" u="none" strike="noStrike" baseline="0" dirty="0">
                <a:solidFill>
                  <a:srgbClr val="000000"/>
                </a:solidFill>
                <a:latin typeface="Tahoma" panose="020B0604030504040204" pitchFamily="34" charset="0"/>
              </a:rPr>
              <a:t>Ensure optimum utilization of property for the purpose of maximizing developments opportunities. </a:t>
            </a:r>
          </a:p>
          <a:p>
            <a:pPr marL="285750" indent="-285750">
              <a:buFont typeface="Arial" panose="020B0604020202020204" pitchFamily="34" charset="0"/>
              <a:buChar char="•"/>
            </a:pPr>
            <a:r>
              <a:rPr lang="en-US" sz="1800" b="0" i="0" u="none" strike="noStrike" baseline="0" dirty="0">
                <a:solidFill>
                  <a:srgbClr val="000000"/>
                </a:solidFill>
                <a:latin typeface="Tahoma" panose="020B0604030504040204" pitchFamily="34" charset="0"/>
              </a:rPr>
              <a:t>TP is embarking on a process of acquiring an interested qualifying party to make an offer to purchase this immovable property. </a:t>
            </a:r>
          </a:p>
          <a:p>
            <a:pPr marL="285750" indent="-285750">
              <a:buFont typeface="Arial" panose="020B0604020202020204" pitchFamily="34" charset="0"/>
              <a:buChar char="•"/>
            </a:pPr>
            <a:r>
              <a:rPr lang="en-US" sz="1800" b="0" i="0" u="none" strike="noStrike" baseline="0" dirty="0">
                <a:solidFill>
                  <a:srgbClr val="000000"/>
                </a:solidFill>
                <a:latin typeface="Tahoma" panose="020B0604030504040204" pitchFamily="34" charset="0"/>
              </a:rPr>
              <a:t>Transnet has approved the alienation of the Carlton Centre Complex in Johannesburg CBD, South Africa. </a:t>
            </a:r>
          </a:p>
          <a:p>
            <a:pPr marL="285750" indent="-285750">
              <a:buFont typeface="Arial" panose="020B0604020202020204" pitchFamily="34" charset="0"/>
              <a:buChar char="•"/>
            </a:pPr>
            <a:r>
              <a:rPr lang="en-US" sz="1800" b="0" i="0" u="none" strike="noStrike" baseline="0" dirty="0">
                <a:solidFill>
                  <a:srgbClr val="000000"/>
                </a:solidFill>
                <a:latin typeface="Tahoma" panose="020B0604030504040204" pitchFamily="34" charset="0"/>
              </a:rPr>
              <a:t>The property is situated on Erf 1120, Erf 1126 and Erf 1239, Marshalls Town, situated at 150 Commissioner Street, Johannesburg. </a:t>
            </a:r>
          </a:p>
          <a:p>
            <a:pPr marL="285750" indent="-285750">
              <a:buFont typeface="Arial" panose="020B0604020202020204" pitchFamily="34" charset="0"/>
              <a:buChar char="•"/>
            </a:pPr>
            <a:r>
              <a:rPr lang="en-US" sz="1800" b="0" i="0" u="none" strike="noStrike" baseline="0" dirty="0">
                <a:solidFill>
                  <a:srgbClr val="000000"/>
                </a:solidFill>
                <a:latin typeface="Tahoma" panose="020B0604030504040204" pitchFamily="34" charset="0"/>
              </a:rPr>
              <a:t>The property is located in the Inland Region (Gauteng area). The bidders should note that the property is subject to the registered Notarial Deed of Cession and Assignment of Leases K221/2000 and K222/2000. 	</a:t>
            </a:r>
          </a:p>
          <a:p>
            <a:endParaRPr lang="en-US" dirty="0"/>
          </a:p>
        </p:txBody>
      </p:sp>
    </p:spTree>
    <p:extLst>
      <p:ext uri="{BB962C8B-B14F-4D97-AF65-F5344CB8AC3E}">
        <p14:creationId xmlns:p14="http://schemas.microsoft.com/office/powerpoint/2010/main" val="2951917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887AC-6747-472C-8B2E-1362DF520ECC}"/>
              </a:ext>
            </a:extLst>
          </p:cNvPr>
          <p:cNvSpPr>
            <a:spLocks noGrp="1"/>
          </p:cNvSpPr>
          <p:nvPr>
            <p:ph type="ctrTitle"/>
          </p:nvPr>
        </p:nvSpPr>
        <p:spPr/>
        <p:txBody>
          <a:bodyPr/>
          <a:lstStyle/>
          <a:p>
            <a:r>
              <a:rPr lang="en-ZA" dirty="0"/>
              <a:t> MANDATORY RETURNABLE DOCUMENTS</a:t>
            </a:r>
            <a:endParaRPr lang="en-US" dirty="0"/>
          </a:p>
        </p:txBody>
      </p:sp>
      <p:sp>
        <p:nvSpPr>
          <p:cNvPr id="3" name="Content Placeholder 2">
            <a:extLst>
              <a:ext uri="{FF2B5EF4-FFF2-40B4-BE49-F238E27FC236}">
                <a16:creationId xmlns:a16="http://schemas.microsoft.com/office/drawing/2014/main" id="{92E80AA3-E936-4740-8868-E849578F1BA2}"/>
              </a:ext>
            </a:extLst>
          </p:cNvPr>
          <p:cNvSpPr>
            <a:spLocks noGrp="1"/>
          </p:cNvSpPr>
          <p:nvPr>
            <p:ph idx="1"/>
          </p:nvPr>
        </p:nvSpPr>
        <p:spPr/>
        <p:txBody>
          <a:bodyPr/>
          <a:lstStyle/>
          <a:p>
            <a:pPr marL="342900" indent="-342900">
              <a:buFont typeface="Wingdings" panose="05000000000000000000" pitchFamily="2" charset="2"/>
              <a:buChar char="q"/>
            </a:pPr>
            <a:r>
              <a:rPr lang="en-ZA" dirty="0">
                <a:solidFill>
                  <a:schemeClr val="tx1"/>
                </a:solidFill>
              </a:rPr>
              <a:t>SECTION 1: SBD 1 Form completed and signed</a:t>
            </a:r>
          </a:p>
          <a:p>
            <a:pPr marL="342900" indent="-342900">
              <a:buFont typeface="Wingdings" panose="05000000000000000000" pitchFamily="2" charset="2"/>
              <a:buChar char="q"/>
            </a:pPr>
            <a:endParaRPr lang="en-ZA" dirty="0">
              <a:solidFill>
                <a:schemeClr val="tx1"/>
              </a:solidFill>
            </a:endParaRPr>
          </a:p>
          <a:p>
            <a:pPr marL="342900" indent="-342900">
              <a:buFont typeface="Wingdings" panose="05000000000000000000" pitchFamily="2" charset="2"/>
              <a:buChar char="q"/>
            </a:pPr>
            <a:r>
              <a:rPr lang="en-ZA" dirty="0">
                <a:solidFill>
                  <a:schemeClr val="tx1"/>
                </a:solidFill>
              </a:rPr>
              <a:t>SECTION 4: Pricing Schedule</a:t>
            </a:r>
            <a:endParaRPr lang="en-US" dirty="0">
              <a:solidFill>
                <a:schemeClr val="tx1"/>
              </a:solidFill>
            </a:endParaRPr>
          </a:p>
        </p:txBody>
      </p:sp>
    </p:spTree>
    <p:extLst>
      <p:ext uri="{BB962C8B-B14F-4D97-AF65-F5344CB8AC3E}">
        <p14:creationId xmlns:p14="http://schemas.microsoft.com/office/powerpoint/2010/main" val="954108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2B6C8-AABC-4FE7-B6DB-C0348CF869F5}"/>
              </a:ext>
            </a:extLst>
          </p:cNvPr>
          <p:cNvSpPr>
            <a:spLocks noGrp="1"/>
          </p:cNvSpPr>
          <p:nvPr>
            <p:ph type="ctrTitle"/>
          </p:nvPr>
        </p:nvSpPr>
        <p:spPr/>
        <p:txBody>
          <a:bodyPr/>
          <a:lstStyle/>
          <a:p>
            <a:r>
              <a:rPr lang="en-ZA" dirty="0"/>
              <a:t>RETURNABLE ITEMS FOR SCORING</a:t>
            </a:r>
            <a:endParaRPr lang="en-US" dirty="0"/>
          </a:p>
        </p:txBody>
      </p:sp>
      <p:sp>
        <p:nvSpPr>
          <p:cNvPr id="3" name="Content Placeholder 2">
            <a:extLst>
              <a:ext uri="{FF2B5EF4-FFF2-40B4-BE49-F238E27FC236}">
                <a16:creationId xmlns:a16="http://schemas.microsoft.com/office/drawing/2014/main" id="{2CDA87B2-3069-4109-AB53-2326A09FDF4C}"/>
              </a:ext>
            </a:extLst>
          </p:cNvPr>
          <p:cNvSpPr>
            <a:spLocks noGrp="1"/>
          </p:cNvSpPr>
          <p:nvPr>
            <p:ph idx="1"/>
          </p:nvPr>
        </p:nvSpPr>
        <p:spPr/>
        <p:txBody>
          <a:bodyPr/>
          <a:lstStyle/>
          <a:p>
            <a:pPr marL="342900" indent="-342900">
              <a:buFont typeface="Wingdings" panose="05000000000000000000" pitchFamily="2" charset="2"/>
              <a:buChar char="q"/>
            </a:pPr>
            <a:r>
              <a:rPr lang="en-ZA" dirty="0">
                <a:solidFill>
                  <a:schemeClr val="tx1"/>
                </a:solidFill>
              </a:rPr>
              <a:t>100% Technical Clause by Clause Acceptance of the Specification</a:t>
            </a:r>
          </a:p>
          <a:p>
            <a:pPr marL="342900" indent="-342900">
              <a:buFont typeface="Wingdings" panose="05000000000000000000" pitchFamily="2" charset="2"/>
              <a:buChar char="q"/>
            </a:pPr>
            <a:endParaRPr lang="en-ZA" dirty="0">
              <a:solidFill>
                <a:schemeClr val="tx1"/>
              </a:solidFill>
            </a:endParaRPr>
          </a:p>
          <a:p>
            <a:pPr marL="342900" indent="-342900">
              <a:buFont typeface="Wingdings" panose="05000000000000000000" pitchFamily="2" charset="2"/>
              <a:buChar char="q"/>
            </a:pPr>
            <a:r>
              <a:rPr lang="en-ZA" dirty="0">
                <a:solidFill>
                  <a:schemeClr val="tx1"/>
                </a:solidFill>
              </a:rPr>
              <a:t>Provide proof of funding to acquire the property (i.e. bank guarantees and/or letters from the registered financial institutions that prove existence of funds)</a:t>
            </a:r>
          </a:p>
          <a:p>
            <a:pPr marL="342900" indent="-342900">
              <a:buFont typeface="Wingdings" panose="05000000000000000000" pitchFamily="2" charset="2"/>
              <a:buChar char="q"/>
            </a:pPr>
            <a:endParaRPr lang="en-ZA" dirty="0">
              <a:solidFill>
                <a:schemeClr val="tx1"/>
              </a:solidFill>
            </a:endParaRPr>
          </a:p>
          <a:p>
            <a:pPr marL="342900" indent="-342900">
              <a:buFont typeface="Wingdings" panose="05000000000000000000" pitchFamily="2" charset="2"/>
              <a:buChar char="q"/>
            </a:pPr>
            <a:r>
              <a:rPr lang="en-ZA" dirty="0">
                <a:solidFill>
                  <a:schemeClr val="tx1"/>
                </a:solidFill>
              </a:rPr>
              <a:t>Property Valuation Report from a valuer registered with the South African Council of Property Valuers Profession (SACPVP) submitted</a:t>
            </a:r>
          </a:p>
          <a:p>
            <a:pPr marL="342900" indent="-342900">
              <a:buFont typeface="Wingdings" panose="05000000000000000000" pitchFamily="2" charset="2"/>
              <a:buChar char="q"/>
            </a:pPr>
            <a:endParaRPr lang="en-ZA" dirty="0">
              <a:solidFill>
                <a:schemeClr val="tx1"/>
              </a:solidFill>
            </a:endParaRPr>
          </a:p>
          <a:p>
            <a:pPr marL="342900" indent="-342900">
              <a:buFont typeface="Wingdings" panose="05000000000000000000" pitchFamily="2" charset="2"/>
              <a:buChar char="q"/>
            </a:pPr>
            <a:r>
              <a:rPr lang="en-ZA" dirty="0">
                <a:solidFill>
                  <a:schemeClr val="tx1"/>
                </a:solidFill>
              </a:rPr>
              <a:t>Proof of evidence of owned or invested property portfolio in the form of either a title deed in the name of the bidding company or the bidding company’s Audited Balance Sheet</a:t>
            </a:r>
            <a:endParaRPr lang="en-US" dirty="0">
              <a:solidFill>
                <a:schemeClr val="tx1"/>
              </a:solidFill>
            </a:endParaRPr>
          </a:p>
        </p:txBody>
      </p:sp>
    </p:spTree>
    <p:extLst>
      <p:ext uri="{BB962C8B-B14F-4D97-AF65-F5344CB8AC3E}">
        <p14:creationId xmlns:p14="http://schemas.microsoft.com/office/powerpoint/2010/main" val="683547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AA290-963F-48F4-9F9A-0201910404AE}"/>
              </a:ext>
            </a:extLst>
          </p:cNvPr>
          <p:cNvSpPr>
            <a:spLocks noGrp="1"/>
          </p:cNvSpPr>
          <p:nvPr>
            <p:ph type="ctrTitle"/>
          </p:nvPr>
        </p:nvSpPr>
        <p:spPr/>
        <p:txBody>
          <a:bodyPr/>
          <a:lstStyle/>
          <a:p>
            <a:r>
              <a:rPr lang="en-ZA" dirty="0"/>
              <a:t> EVALUATION METHODOLOGY</a:t>
            </a:r>
            <a:endParaRPr lang="en-US" dirty="0"/>
          </a:p>
        </p:txBody>
      </p:sp>
      <p:pic>
        <p:nvPicPr>
          <p:cNvPr id="5" name="Content Placeholder 4">
            <a:extLst>
              <a:ext uri="{FF2B5EF4-FFF2-40B4-BE49-F238E27FC236}">
                <a16:creationId xmlns:a16="http://schemas.microsoft.com/office/drawing/2014/main" id="{0DDF4603-5E7F-43C4-8349-D9CAF933C8E4}"/>
              </a:ext>
            </a:extLst>
          </p:cNvPr>
          <p:cNvPicPr>
            <a:picLocks noGrp="1" noChangeAspect="1"/>
          </p:cNvPicPr>
          <p:nvPr>
            <p:ph idx="1"/>
          </p:nvPr>
        </p:nvPicPr>
        <p:blipFill>
          <a:blip r:embed="rId2"/>
          <a:stretch>
            <a:fillRect/>
          </a:stretch>
        </p:blipFill>
        <p:spPr>
          <a:xfrm>
            <a:off x="589941" y="1198880"/>
            <a:ext cx="10991766" cy="5130800"/>
          </a:xfrm>
        </p:spPr>
      </p:pic>
    </p:spTree>
    <p:extLst>
      <p:ext uri="{BB962C8B-B14F-4D97-AF65-F5344CB8AC3E}">
        <p14:creationId xmlns:p14="http://schemas.microsoft.com/office/powerpoint/2010/main" val="6897259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3FD86-CFA7-4BF4-88A8-D79C430E8FCA}"/>
              </a:ext>
            </a:extLst>
          </p:cNvPr>
          <p:cNvSpPr>
            <a:spLocks noGrp="1"/>
          </p:cNvSpPr>
          <p:nvPr>
            <p:ph type="ctrTitle"/>
          </p:nvPr>
        </p:nvSpPr>
        <p:spPr/>
        <p:txBody>
          <a:bodyPr/>
          <a:lstStyle/>
          <a:p>
            <a:r>
              <a:rPr lang="en-ZA" dirty="0"/>
              <a:t>Technical Requirements</a:t>
            </a:r>
            <a:endParaRPr lang="en-US" dirty="0"/>
          </a:p>
        </p:txBody>
      </p:sp>
      <p:sp>
        <p:nvSpPr>
          <p:cNvPr id="3" name="Content Placeholder 2">
            <a:extLst>
              <a:ext uri="{FF2B5EF4-FFF2-40B4-BE49-F238E27FC236}">
                <a16:creationId xmlns:a16="http://schemas.microsoft.com/office/drawing/2014/main" id="{A53DE258-1CBC-4972-867B-E3D546C1F4AC}"/>
              </a:ext>
            </a:extLst>
          </p:cNvPr>
          <p:cNvSpPr>
            <a:spLocks noGrp="1"/>
          </p:cNvSpPr>
          <p:nvPr>
            <p:ph idx="1"/>
          </p:nvPr>
        </p:nvSpPr>
        <p:spPr/>
        <p:txBody>
          <a:bodyPr/>
          <a:lstStyle/>
          <a:p>
            <a:endParaRPr lang="en-ZA" dirty="0">
              <a:solidFill>
                <a:schemeClr val="tx1"/>
              </a:solidFill>
            </a:endParaRPr>
          </a:p>
          <a:p>
            <a:pPr marL="457200" indent="-457200">
              <a:buFont typeface="Wingdings" panose="05000000000000000000" pitchFamily="2" charset="2"/>
              <a:buChar char="q"/>
            </a:pPr>
            <a:r>
              <a:rPr lang="en-ZA" sz="2800" dirty="0">
                <a:solidFill>
                  <a:schemeClr val="tx1"/>
                </a:solidFill>
              </a:rPr>
              <a:t>PHASE 1: 100% Technical Compliance to Specification</a:t>
            </a:r>
          </a:p>
          <a:p>
            <a:pPr marL="457200" indent="-457200">
              <a:buFont typeface="Wingdings" panose="05000000000000000000" pitchFamily="2" charset="2"/>
              <a:buChar char="Ø"/>
            </a:pPr>
            <a:r>
              <a:rPr lang="en-ZA" sz="2800" dirty="0">
                <a:solidFill>
                  <a:schemeClr val="tx1"/>
                </a:solidFill>
              </a:rPr>
              <a:t>	</a:t>
            </a:r>
            <a:r>
              <a:rPr lang="en-ZA" sz="2400" dirty="0">
                <a:solidFill>
                  <a:schemeClr val="tx1"/>
                </a:solidFill>
              </a:rPr>
              <a:t>Clause by Clause Statement of Acceptance</a:t>
            </a:r>
          </a:p>
          <a:p>
            <a:pPr marL="457200" indent="-457200">
              <a:buFont typeface="Wingdings" panose="05000000000000000000" pitchFamily="2" charset="2"/>
              <a:buChar char="Ø"/>
            </a:pPr>
            <a:r>
              <a:rPr lang="en-ZA" sz="2400" dirty="0">
                <a:solidFill>
                  <a:schemeClr val="tx1"/>
                </a:solidFill>
              </a:rPr>
              <a:t>	Provide proof of availability of funds </a:t>
            </a:r>
          </a:p>
          <a:p>
            <a:endParaRPr lang="en-ZA" sz="2400" dirty="0">
              <a:solidFill>
                <a:schemeClr val="tx1"/>
              </a:solidFill>
            </a:endParaRPr>
          </a:p>
          <a:p>
            <a:pPr marL="457200" indent="-457200">
              <a:buFont typeface="Wingdings" panose="05000000000000000000" pitchFamily="2" charset="2"/>
              <a:buChar char="q"/>
            </a:pPr>
            <a:r>
              <a:rPr lang="en-ZA" sz="2800" dirty="0">
                <a:solidFill>
                  <a:schemeClr val="tx1"/>
                </a:solidFill>
              </a:rPr>
              <a:t>PHASE 2: Technical Capability Evaluation Criteria</a:t>
            </a:r>
          </a:p>
          <a:p>
            <a:pPr marL="457200" indent="-457200">
              <a:buFont typeface="Wingdings" panose="05000000000000000000" pitchFamily="2" charset="2"/>
              <a:buChar char="Ø"/>
            </a:pPr>
            <a:r>
              <a:rPr lang="en-ZA" sz="2800" dirty="0">
                <a:solidFill>
                  <a:schemeClr val="tx1"/>
                </a:solidFill>
              </a:rPr>
              <a:t>	</a:t>
            </a:r>
            <a:r>
              <a:rPr lang="en-ZA" sz="2400" dirty="0">
                <a:solidFill>
                  <a:schemeClr val="tx1"/>
                </a:solidFill>
              </a:rPr>
              <a:t>Property Valuation Report</a:t>
            </a:r>
          </a:p>
          <a:p>
            <a:pPr marL="457200" indent="-457200">
              <a:buFont typeface="Wingdings" panose="05000000000000000000" pitchFamily="2" charset="2"/>
              <a:buChar char="Ø"/>
            </a:pPr>
            <a:r>
              <a:rPr lang="en-ZA" sz="2400" dirty="0">
                <a:solidFill>
                  <a:schemeClr val="tx1"/>
                </a:solidFill>
              </a:rPr>
              <a:t>	Proven Track Record</a:t>
            </a:r>
          </a:p>
          <a:p>
            <a:pPr marL="457200" indent="-457200">
              <a:buFont typeface="Wingdings" panose="05000000000000000000" pitchFamily="2" charset="2"/>
              <a:buChar char="Ø"/>
            </a:pPr>
            <a:r>
              <a:rPr lang="en-ZA" sz="2400" dirty="0">
                <a:solidFill>
                  <a:schemeClr val="tx1"/>
                </a:solidFill>
              </a:rPr>
              <a:t>	Redevelopment or Refurbishment of a Property</a:t>
            </a:r>
          </a:p>
          <a:p>
            <a:endParaRPr lang="en-ZA" dirty="0">
              <a:solidFill>
                <a:schemeClr val="tx1"/>
              </a:solidFill>
            </a:endParaRPr>
          </a:p>
          <a:p>
            <a:pPr marL="342900" indent="-342900">
              <a:buFont typeface="Wingdings" panose="05000000000000000000" pitchFamily="2" charset="2"/>
              <a:buChar char="§"/>
            </a:pPr>
            <a:endParaRPr lang="en-US" dirty="0">
              <a:solidFill>
                <a:schemeClr val="tx1"/>
              </a:solidFill>
            </a:endParaRPr>
          </a:p>
        </p:txBody>
      </p:sp>
    </p:spTree>
    <p:extLst>
      <p:ext uri="{BB962C8B-B14F-4D97-AF65-F5344CB8AC3E}">
        <p14:creationId xmlns:p14="http://schemas.microsoft.com/office/powerpoint/2010/main" val="2306723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3FD86-CFA7-4BF4-88A8-D79C430E8FCA}"/>
              </a:ext>
            </a:extLst>
          </p:cNvPr>
          <p:cNvSpPr>
            <a:spLocks noGrp="1"/>
          </p:cNvSpPr>
          <p:nvPr>
            <p:ph type="ctrTitle"/>
          </p:nvPr>
        </p:nvSpPr>
        <p:spPr>
          <a:xfrm>
            <a:off x="568328" y="356990"/>
            <a:ext cx="9145218" cy="661832"/>
          </a:xfrm>
        </p:spPr>
        <p:txBody>
          <a:bodyPr/>
          <a:lstStyle/>
          <a:p>
            <a:r>
              <a:rPr lang="en-ZA" dirty="0"/>
              <a:t>Question and Answers</a:t>
            </a:r>
            <a:endParaRPr lang="en-US" dirty="0"/>
          </a:p>
        </p:txBody>
      </p:sp>
      <p:sp>
        <p:nvSpPr>
          <p:cNvPr id="3" name="Content Placeholder 2">
            <a:extLst>
              <a:ext uri="{FF2B5EF4-FFF2-40B4-BE49-F238E27FC236}">
                <a16:creationId xmlns:a16="http://schemas.microsoft.com/office/drawing/2014/main" id="{A53DE258-1CBC-4972-867B-E3D546C1F4AC}"/>
              </a:ext>
            </a:extLst>
          </p:cNvPr>
          <p:cNvSpPr>
            <a:spLocks noGrp="1"/>
          </p:cNvSpPr>
          <p:nvPr>
            <p:ph idx="1"/>
          </p:nvPr>
        </p:nvSpPr>
        <p:spPr/>
        <p:txBody>
          <a:bodyPr/>
          <a:lstStyle/>
          <a:p>
            <a:pPr marL="342900" indent="-342900">
              <a:buFont typeface="Wingdings" panose="05000000000000000000" pitchFamily="2" charset="2"/>
              <a:buChar char="§"/>
            </a:pPr>
            <a:endParaRPr lang="en-ZA" dirty="0">
              <a:solidFill>
                <a:schemeClr val="tx1"/>
              </a:solidFill>
            </a:endParaRPr>
          </a:p>
          <a:p>
            <a:pPr marL="342900" indent="-342900">
              <a:buFont typeface="Wingdings" panose="05000000000000000000" pitchFamily="2" charset="2"/>
              <a:buChar char="§"/>
            </a:pPr>
            <a:endParaRPr lang="en-ZA" dirty="0">
              <a:solidFill>
                <a:schemeClr val="tx1"/>
              </a:solidFill>
            </a:endParaRPr>
          </a:p>
          <a:p>
            <a:pPr marL="457200" indent="-457200">
              <a:buFont typeface="Wingdings" panose="05000000000000000000" pitchFamily="2" charset="2"/>
              <a:buChar char="q"/>
            </a:pPr>
            <a:r>
              <a:rPr lang="en-ZA" sz="2800" dirty="0">
                <a:solidFill>
                  <a:schemeClr val="tx1"/>
                </a:solidFill>
              </a:rPr>
              <a:t>SCM and Technical Requirements</a:t>
            </a:r>
          </a:p>
          <a:p>
            <a:pPr marL="457200" indent="-457200">
              <a:buFont typeface="Wingdings" panose="05000000000000000000" pitchFamily="2" charset="2"/>
              <a:buChar char="q"/>
            </a:pPr>
            <a:endParaRPr lang="en-ZA" sz="3200" dirty="0">
              <a:solidFill>
                <a:schemeClr val="tx1"/>
              </a:solidFill>
            </a:endParaRPr>
          </a:p>
          <a:p>
            <a:pPr marL="457200" indent="-457200">
              <a:buFont typeface="Wingdings" panose="05000000000000000000" pitchFamily="2" charset="2"/>
              <a:buChar char="q"/>
            </a:pPr>
            <a:r>
              <a:rPr lang="en-ZA" sz="2800" dirty="0">
                <a:solidFill>
                  <a:schemeClr val="tx1"/>
                </a:solidFill>
              </a:rPr>
              <a:t>Clarifications Questions can still be sent to </a:t>
            </a:r>
            <a:r>
              <a:rPr lang="en-ZA" sz="2800" b="1" dirty="0">
                <a:solidFill>
                  <a:schemeClr val="tx1"/>
                </a:solidFill>
              </a:rPr>
              <a:t>CarltonCentreDisposal@transnet.net</a:t>
            </a:r>
            <a:r>
              <a:rPr lang="en-ZA" sz="2800" dirty="0">
                <a:solidFill>
                  <a:schemeClr val="tx1"/>
                </a:solidFill>
              </a:rPr>
              <a:t> by Thursday, 01 June 2023</a:t>
            </a:r>
          </a:p>
          <a:p>
            <a:endParaRPr lang="en-ZA" dirty="0">
              <a:solidFill>
                <a:schemeClr val="tx1"/>
              </a:solidFill>
            </a:endParaRPr>
          </a:p>
          <a:p>
            <a:pPr marL="342900" indent="-342900">
              <a:buFont typeface="Wingdings" panose="05000000000000000000" pitchFamily="2" charset="2"/>
              <a:buChar char="§"/>
            </a:pPr>
            <a:endParaRPr lang="en-US" dirty="0">
              <a:solidFill>
                <a:schemeClr val="tx1"/>
              </a:solidFill>
            </a:endParaRPr>
          </a:p>
        </p:txBody>
      </p:sp>
    </p:spTree>
    <p:extLst>
      <p:ext uri="{BB962C8B-B14F-4D97-AF65-F5344CB8AC3E}">
        <p14:creationId xmlns:p14="http://schemas.microsoft.com/office/powerpoint/2010/main" val="1068420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cf06aa0-5735-4d62-b130-1f2dd8c9b15c"/>
    <Meeting_x0020_Date xmlns="ecf06aa0-5735-4d62-b130-1f2dd8c9b15c"/>
    <Meeting_x0020_Type xmlns="ecf06aa0-5735-4d62-b130-1f2dd8c9b15c"/>
  </documentManagement>
</p:properties>
</file>

<file path=customXml/item2.xml><?xml version="1.0" encoding="utf-8"?>
<ct:contentTypeSchema xmlns:ct="http://schemas.microsoft.com/office/2006/metadata/contentType" xmlns:ma="http://schemas.microsoft.com/office/2006/metadata/properties/metaAttributes" ct:_="" ma:_="" ma:contentTypeName="Agenda" ma:contentTypeID="0x010100CC8FCBEF7E1B484EAE9A6A732CAFD5C9009C745C537F3AAF4283E2BBC2C0878CC6" ma:contentTypeVersion="6" ma:contentTypeDescription="" ma:contentTypeScope="" ma:versionID="54c7f3a1adde374d5074e5301edbc105">
  <xsd:schema xmlns:xsd="http://www.w3.org/2001/XMLSchema" xmlns:xs="http://www.w3.org/2001/XMLSchema" xmlns:p="http://schemas.microsoft.com/office/2006/metadata/properties" xmlns:ns2="ecf06aa0-5735-4d62-b130-1f2dd8c9b15c" targetNamespace="http://schemas.microsoft.com/office/2006/metadata/properties" ma:root="true" ma:fieldsID="d9e7ed2870955ff3069abb477c37da02" ns2:_="">
    <xsd:import namespace="ecf06aa0-5735-4d62-b130-1f2dd8c9b15c"/>
    <xsd:element name="properties">
      <xsd:complexType>
        <xsd:sequence>
          <xsd:element name="documentManagement">
            <xsd:complexType>
              <xsd:all>
                <xsd:element ref="ns2:Meeting_x0020_Date"/>
                <xsd:element ref="ns2:TaxCatchAll" minOccurs="0"/>
                <xsd:element ref="ns2:TaxCatchAllLabel" minOccurs="0"/>
                <xsd:element ref="ns2:Meeting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f06aa0-5735-4d62-b130-1f2dd8c9b15c" elementFormDefault="qualified">
    <xsd:import namespace="http://schemas.microsoft.com/office/2006/documentManagement/types"/>
    <xsd:import namespace="http://schemas.microsoft.com/office/infopath/2007/PartnerControls"/>
    <xsd:element name="Meeting_x0020_Date" ma:index="9" ma:displayName="Meeting Date" ma:description="" ma:format="DateOnly" ma:internalName="Meeting_x0020_Date" ma:readOnly="false">
      <xsd:simpleType>
        <xsd:restriction base="dms:DateTime"/>
      </xsd:simpleType>
    </xsd:element>
    <xsd:element name="TaxCatchAll" ma:index="10" nillable="true" ma:displayName="Taxonomy Catch All Column" ma:description="" ma:hidden="true" ma:list="{74cab8fe-71df-4742-8496-c2be578a1946}" ma:internalName="TaxCatchAll" ma:readOnly="false" ma:showField="CatchAllData" ma:web="ecf06aa0-5735-4d62-b130-1f2dd8c9b15c">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description="" ma:hidden="true" ma:list="{74cab8fe-71df-4742-8496-c2be578a1946}" ma:internalName="TaxCatchAllLabel" ma:readOnly="true" ma:showField="CatchAllDataLabel" ma:web="ecf06aa0-5735-4d62-b130-1f2dd8c9b15c">
      <xsd:complexType>
        <xsd:complexContent>
          <xsd:extension base="dms:MultiChoiceLookup">
            <xsd:sequence>
              <xsd:element name="Value" type="dms:Lookup" maxOccurs="unbounded" minOccurs="0" nillable="true"/>
            </xsd:sequence>
          </xsd:extension>
        </xsd:complexContent>
      </xsd:complexType>
    </xsd:element>
    <xsd:element name="Meeting_x0020_Type" ma:index="12" ma:displayName="Meeting Type" ma:description="" ma:format="Dropdown" ma:internalName="Meeting_x0020_Type" ma:readOnly="false">
      <xsd:simpleType>
        <xsd:restriction base="dms:Choice">
          <xsd:enumeration value="Scheduled"/>
          <xsd:enumeration value="Closed"/>
          <xsd:enumeration value="Special"/>
          <xsd:enumeration value="Workshop"/>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0FF3AA-898C-4559-957D-212B215BDC0C}">
  <ds:schemaRefs>
    <ds:schemaRef ds:uri="http://schemas.microsoft.com/office/2006/documentManagement/types"/>
    <ds:schemaRef ds:uri="http://www.w3.org/XML/1998/namespace"/>
    <ds:schemaRef ds:uri="http://purl.org/dc/terms/"/>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ecf06aa0-5735-4d62-b130-1f2dd8c9b15c"/>
    <ds:schemaRef ds:uri="http://purl.org/dc/dcmitype/"/>
  </ds:schemaRefs>
</ds:datastoreItem>
</file>

<file path=customXml/itemProps2.xml><?xml version="1.0" encoding="utf-8"?>
<ds:datastoreItem xmlns:ds="http://schemas.openxmlformats.org/officeDocument/2006/customXml" ds:itemID="{A0B663A0-6FF7-4038-8CAB-74AC7A2BFE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f06aa0-5735-4d62-b130-1f2dd8c9b1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3FBB31-1BF7-40CA-BE62-1D5F8A5AD6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291</TotalTime>
  <Words>419</Words>
  <Application>Microsoft Office PowerPoint</Application>
  <PresentationFormat>Widescreen</PresentationFormat>
  <Paragraphs>60</Paragraphs>
  <Slides>10</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Tahoma</vt:lpstr>
      <vt:lpstr>Tahoma Regular</vt:lpstr>
      <vt:lpstr>Wingdings</vt:lpstr>
      <vt:lpstr>Custom Design</vt:lpstr>
      <vt:lpstr>1_Custom Design</vt:lpstr>
      <vt:lpstr>1_TEMPLATE MASTER</vt:lpstr>
      <vt:lpstr>think-cell Slide</vt:lpstr>
      <vt:lpstr>PowerPoint Presentation</vt:lpstr>
      <vt:lpstr>Discussion Items</vt:lpstr>
      <vt:lpstr>SCM ADMINISTRATION CLARIFICATION </vt:lpstr>
      <vt:lpstr> BACKGROUND</vt:lpstr>
      <vt:lpstr> MANDATORY RETURNABLE DOCUMENTS</vt:lpstr>
      <vt:lpstr>RETURNABLE ITEMS FOR SCORING</vt:lpstr>
      <vt:lpstr> EVALUATION METHODOLOGY</vt:lpstr>
      <vt:lpstr>Technical Requirements</vt:lpstr>
      <vt:lpstr>Question and Answ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Pumla Ngamlana   Transnet Property   Johannesburg</cp:lastModifiedBy>
  <cp:revision>442</cp:revision>
  <dcterms:created xsi:type="dcterms:W3CDTF">2020-05-19T16:46:16Z</dcterms:created>
  <dcterms:modified xsi:type="dcterms:W3CDTF">2023-06-02T12:0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8FCBEF7E1B484EAE9A6A732CAFD5C9009C745C537F3AAF4283E2BBC2C0878CC6</vt:lpwstr>
  </property>
</Properties>
</file>